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08" r:id="rId1"/>
  </p:sldMasterIdLst>
  <p:notesMasterIdLst>
    <p:notesMasterId r:id="rId15"/>
  </p:notesMasterIdLst>
  <p:handoutMasterIdLst>
    <p:handoutMasterId r:id="rId16"/>
  </p:handoutMasterIdLst>
  <p:sldIdLst>
    <p:sldId id="1097" r:id="rId2"/>
    <p:sldId id="1101" r:id="rId3"/>
    <p:sldId id="1111" r:id="rId4"/>
    <p:sldId id="1103" r:id="rId5"/>
    <p:sldId id="1104" r:id="rId6"/>
    <p:sldId id="1107" r:id="rId7"/>
    <p:sldId id="1116" r:id="rId8"/>
    <p:sldId id="1113" r:id="rId9"/>
    <p:sldId id="1115" r:id="rId10"/>
    <p:sldId id="1117" r:id="rId11"/>
    <p:sldId id="1106" r:id="rId12"/>
    <p:sldId id="1118" r:id="rId13"/>
    <p:sldId id="1102" r:id="rId14"/>
  </p:sldIdLst>
  <p:sldSz cx="12192000" cy="6858000"/>
  <p:notesSz cx="9144000" cy="6858000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  <p:extLst>
    <p:ext uri="{521415D9-36F7-43E2-AB2F-B90AF26B5E84}">
      <p14:sectionLst xmlns:p14="http://schemas.microsoft.com/office/powerpoint/2010/main">
        <p14:section name="Standardabschnitt" id="{68DCC057-C199-4725-BC64-BB25F6B26DB6}">
          <p14:sldIdLst>
            <p14:sldId id="1097"/>
            <p14:sldId id="1101"/>
            <p14:sldId id="1111"/>
            <p14:sldId id="1103"/>
            <p14:sldId id="1104"/>
            <p14:sldId id="1107"/>
            <p14:sldId id="1116"/>
            <p14:sldId id="1113"/>
            <p14:sldId id="1115"/>
            <p14:sldId id="1117"/>
            <p14:sldId id="1106"/>
            <p14:sldId id="1118"/>
            <p14:sldId id="1102"/>
          </p14:sldIdLst>
        </p14:section>
      </p14:sectionLst>
    </p:ext>
    <p:ext uri="{EFAFB233-063F-42B5-8137-9DF3F51BA10A}">
      <p15:sldGuideLst xmlns:p15="http://schemas.microsoft.com/office/powerpoint/2012/main">
        <p15:guide id="3" pos="3863" userDrawn="1">
          <p15:clr>
            <a:srgbClr val="A4A3A4"/>
          </p15:clr>
        </p15:guide>
        <p15:guide id="4" orient="horz" pos="22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ritz Langner" initials="ML" lastIdx="3" clrIdx="0"/>
  <p:cmAuthor id="2" name="Langner Moritz" initials="LM" lastIdx="1" clrIdx="1">
    <p:extLst>
      <p:ext uri="{19B8F6BF-5375-455C-9EA6-DF929625EA0E}">
        <p15:presenceInfo xmlns:p15="http://schemas.microsoft.com/office/powerpoint/2012/main" userId="Langner Morit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B221"/>
    <a:srgbClr val="FCFB9A"/>
    <a:srgbClr val="404040"/>
    <a:srgbClr val="EEF5FB"/>
    <a:srgbClr val="000000"/>
    <a:srgbClr val="BEBEBE"/>
    <a:srgbClr val="B4B4B4"/>
    <a:srgbClr val="EBEBEB"/>
    <a:srgbClr val="E6E6E6"/>
    <a:srgbClr val="C8C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52" autoAdjust="0"/>
    <p:restoredTop sz="74762" autoAdjust="0"/>
  </p:normalViewPr>
  <p:slideViewPr>
    <p:cSldViewPr snapToGrid="0">
      <p:cViewPr varScale="1">
        <p:scale>
          <a:sx n="94" d="100"/>
          <a:sy n="94" d="100"/>
        </p:scale>
        <p:origin x="400" y="184"/>
      </p:cViewPr>
      <p:guideLst>
        <p:guide pos="3863"/>
        <p:guide orient="horz" pos="22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33444"/>
    </p:cViewPr>
  </p:sorterViewPr>
  <p:notesViewPr>
    <p:cSldViewPr snapToGrid="0">
      <p:cViewPr varScale="1">
        <p:scale>
          <a:sx n="128" d="100"/>
          <a:sy n="128" d="100"/>
        </p:scale>
        <p:origin x="872" y="176"/>
      </p:cViewPr>
      <p:guideLst>
        <p:guide orient="horz" pos="2160"/>
        <p:guide pos="288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79484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62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79484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fld id="{7707BBA1-0A01-4F64-8096-F0B345BB1D4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43868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79484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955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52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52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52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79484" y="651391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fld id="{C18D2ACF-6DB0-4665-A0EB-C54B661E879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8437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charset="-128"/>
        <a:cs typeface="ヒラギノ角ゴ Pro W3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380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150k </a:t>
            </a:r>
            <a:r>
              <a:rPr lang="en-US" dirty="0" err="1"/>
              <a:t>Jahr</a:t>
            </a:r>
            <a:r>
              <a:rPr lang="en-US" dirty="0"/>
              <a:t> of tom tom data for Zurich 15.000 SF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6239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03177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18D2ACF-6DB0-4665-A0EB-C54B661E879A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6455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microsoft.com/office/2007/relationships/hdphoto" Target="../media/hdphoto3.wdp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jpe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6365A37-EBC7-3757-EA9A-C01E0CECC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3530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6365A37-EBC7-3757-EA9A-C01E0CECC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3E626CEC-3DDC-C0A9-E8F6-AC8A5F52F6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ln>
            <a:noFill/>
          </a:ln>
        </p:spPr>
      </p:pic>
      <p:sp>
        <p:nvSpPr>
          <p:cNvPr id="11" name="Freihandform 10">
            <a:extLst>
              <a:ext uri="{FF2B5EF4-FFF2-40B4-BE49-F238E27FC236}">
                <a16:creationId xmlns:a16="http://schemas.microsoft.com/office/drawing/2014/main" id="{30E5F3E0-95D7-3BCC-CEF7-C59E27F651CC}"/>
              </a:ext>
            </a:extLst>
          </p:cNvPr>
          <p:cNvSpPr/>
          <p:nvPr userDrawn="1"/>
        </p:nvSpPr>
        <p:spPr bwMode="auto">
          <a:xfrm>
            <a:off x="0" y="-1"/>
            <a:ext cx="7843372" cy="6858001"/>
          </a:xfrm>
          <a:custGeom>
            <a:avLst/>
            <a:gdLst>
              <a:gd name="connsiteX0" fmla="*/ 0 w 7843372"/>
              <a:gd name="connsiteY0" fmla="*/ 0 h 6838731"/>
              <a:gd name="connsiteX1" fmla="*/ 5354401 w 7843372"/>
              <a:gd name="connsiteY1" fmla="*/ 0 h 6838731"/>
              <a:gd name="connsiteX2" fmla="*/ 5359200 w 7843372"/>
              <a:gd name="connsiteY2" fmla="*/ 13186 h 6838731"/>
              <a:gd name="connsiteX3" fmla="*/ 5359200 w 7843372"/>
              <a:gd name="connsiteY3" fmla="*/ 13529 h 6838731"/>
              <a:gd name="connsiteX4" fmla="*/ 7843372 w 7843372"/>
              <a:gd name="connsiteY4" fmla="*/ 6838731 h 6838731"/>
              <a:gd name="connsiteX5" fmla="*/ 0 w 7843372"/>
              <a:gd name="connsiteY5" fmla="*/ 6838731 h 6838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3372" h="6838731">
                <a:moveTo>
                  <a:pt x="0" y="0"/>
                </a:moveTo>
                <a:lnTo>
                  <a:pt x="5354401" y="0"/>
                </a:lnTo>
                <a:lnTo>
                  <a:pt x="5359200" y="13186"/>
                </a:lnTo>
                <a:lnTo>
                  <a:pt x="5359200" y="13529"/>
                </a:lnTo>
                <a:lnTo>
                  <a:pt x="7843372" y="6838731"/>
                </a:lnTo>
                <a:lnTo>
                  <a:pt x="0" y="6838731"/>
                </a:lnTo>
                <a:close/>
              </a:path>
            </a:pathLst>
          </a:custGeom>
          <a:solidFill>
            <a:srgbClr val="FF6400">
              <a:alpha val="69804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D233555-CD1A-8502-3142-EF7A33B8E2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600" y="3991326"/>
            <a:ext cx="62928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8F6E3F72-42EA-4E24-D860-E1A0EFA542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600" y="4795838"/>
            <a:ext cx="62928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89FB808-91A2-E3A9-A086-68422E6E27C8}"/>
              </a:ext>
            </a:extLst>
          </p:cNvPr>
          <p:cNvSpPr/>
          <p:nvPr userDrawn="1"/>
        </p:nvSpPr>
        <p:spPr>
          <a:xfrm>
            <a:off x="345600" y="392874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26030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74E5B-208D-4EDA-8B7F-E395D0FB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4E2D6B1-955F-C052-E7D1-3E9212F6A5A1}"/>
              </a:ext>
            </a:extLst>
          </p:cNvPr>
          <p:cNvSpPr txBox="1"/>
          <p:nvPr userDrawn="1"/>
        </p:nvSpPr>
        <p:spPr bwMode="auto">
          <a:xfrm>
            <a:off x="11229975" y="6615113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9764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747" userDrawn="1">
          <p15:clr>
            <a:srgbClr val="FBAE40"/>
          </p15:clr>
        </p15:guide>
        <p15:guide id="2" pos="463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1CC22-B499-4027-9F67-79C38A52B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0793062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704" userDrawn="1">
          <p15:clr>
            <a:srgbClr val="FBAE40"/>
          </p15:clr>
        </p15:guide>
        <p15:guide id="2" orient="horz" pos="281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1CC22-B499-4027-9F67-79C38A52B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2240516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06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F5DC95-D202-46B3-1715-0ED18F28B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019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F5DC95-D202-46B3-1715-0ED18F28B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DF769567-871B-C843-D496-5E83AD72B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BD4A58A-14FC-5B4E-96E4-D43E73EA2F95}"/>
              </a:ext>
            </a:extLst>
          </p:cNvPr>
          <p:cNvSpPr txBox="1"/>
          <p:nvPr userDrawn="1"/>
        </p:nvSpPr>
        <p:spPr bwMode="auto">
          <a:xfrm>
            <a:off x="11158538" y="6600825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06396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717">
          <p15:clr>
            <a:srgbClr val="FBAE40"/>
          </p15:clr>
        </p15:guide>
        <p15:guide id="2" pos="4626">
          <p15:clr>
            <a:srgbClr val="FBAE40"/>
          </p15:clr>
        </p15:guide>
        <p15:guide id="3" orient="horz" pos="2319">
          <p15:clr>
            <a:srgbClr val="FBAE40"/>
          </p15:clr>
        </p15:guide>
        <p15:guide id="4" orient="horz" pos="2228">
          <p15:clr>
            <a:srgbClr val="FBAE40"/>
          </p15:clr>
        </p15:guide>
        <p15:guide id="5" pos="529">
          <p15:clr>
            <a:srgbClr val="FBAE40"/>
          </p15:clr>
        </p15:guide>
        <p15:guide id="7" pos="1633">
          <p15:clr>
            <a:srgbClr val="FBAE40"/>
          </p15:clr>
        </p15:guide>
        <p15:guide id="8" pos="3084">
          <p15:clr>
            <a:srgbClr val="FBAE40"/>
          </p15:clr>
        </p15:guide>
        <p15:guide id="9" pos="31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1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98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Boden, Weg, mehrere enthält.&#10;&#10;Automatisch generierte Beschreibung">
            <a:extLst>
              <a:ext uri="{FF2B5EF4-FFF2-40B4-BE49-F238E27FC236}">
                <a16:creationId xmlns:a16="http://schemas.microsoft.com/office/drawing/2014/main" id="{7AEE514B-094C-9376-1671-0D4C2C553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50196"/>
            </a:srgbClr>
          </a:solidFill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D5AB517-C6A8-A791-9B37-4BF417B20303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4" name="Grafik 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12509A2-542C-01C0-1588-AE8BFC39BE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9435B5C-E095-A162-0713-6A66AECCE15F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Wir wollen nicht nur überzeugen,</a:t>
            </a:r>
          </a:p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ndern unsere Kunden begeistern“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0DE31F9-91FE-067D-385C-93F8F913A03F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398633946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1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98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Boden, Weg, mehrere enthält.&#10;&#10;Automatisch generierte Beschreibung">
            <a:extLst>
              <a:ext uri="{FF2B5EF4-FFF2-40B4-BE49-F238E27FC236}">
                <a16:creationId xmlns:a16="http://schemas.microsoft.com/office/drawing/2014/main" id="{7AEE514B-094C-9376-1671-0D4C2C553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50196"/>
            </a:srgbClr>
          </a:solidFill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D5AB517-C6A8-A791-9B37-4BF417B20303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4" name="Grafik 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12509A2-542C-01C0-1588-AE8BFC39BE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9435B5C-E095-A162-0713-6A66AECCE15F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do not just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atisfy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ur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s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ligh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m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48D36B1-8259-C3C0-82A0-2BF742AE4382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31776097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2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52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Baum, draußen, Boden, Gras enthält.&#10;&#10;Automatisch generierte Beschreibung">
            <a:extLst>
              <a:ext uri="{FF2B5EF4-FFF2-40B4-BE49-F238E27FC236}">
                <a16:creationId xmlns:a16="http://schemas.microsoft.com/office/drawing/2014/main" id="{28B077B3-B6E2-5F79-2CFA-1C2225DED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50AA93F-D9B1-1BB2-11E0-93917A485F4D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DAE6A76-3AB5-7A9A-D6F5-555A53150007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Wir wollen nicht nur überzeugen,</a:t>
            </a:r>
          </a:p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ondern unsere Kunden begeistern“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5E44635-CEC4-1B89-84D8-659E74FC89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43472240-A6E8-15BE-6C32-F27743422A13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</p:spTree>
    <p:extLst>
      <p:ext uri="{BB962C8B-B14F-4D97-AF65-F5344CB8AC3E}">
        <p14:creationId xmlns:p14="http://schemas.microsoft.com/office/powerpoint/2010/main" val="1491290083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 2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A9EC87-C3C7-A5D6-B953-915437AD6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52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A9EC87-C3C7-A5D6-B953-915437AD6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Baum, draußen, Boden, Gras enthält.&#10;&#10;Automatisch generierte Beschreibung">
            <a:extLst>
              <a:ext uri="{FF2B5EF4-FFF2-40B4-BE49-F238E27FC236}">
                <a16:creationId xmlns:a16="http://schemas.microsoft.com/office/drawing/2014/main" id="{28B077B3-B6E2-5F79-2CFA-1C2225DED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50AA93F-D9B1-1BB2-11E0-93917A485F4D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rgbClr val="000000">
              <a:alpha val="60000"/>
            </a:srgb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B0CD144-9435-A73D-16C6-BA6DC692A070}"/>
              </a:ext>
            </a:extLst>
          </p:cNvPr>
          <p:cNvSpPr txBox="1"/>
          <p:nvPr userDrawn="1"/>
        </p:nvSpPr>
        <p:spPr bwMode="auto">
          <a:xfrm>
            <a:off x="334963" y="6308725"/>
            <a:ext cx="11522074" cy="365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1400" i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uks e.V. | Waldhornstraße 27 | 76131 Karlsruhe | Tel. 0721 / 3842313 | kontakt@fuks.org | www.fuks.org  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5E44635-CEC4-1B89-84D8-659E74FC89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1394" y="95367"/>
            <a:ext cx="1394588" cy="51241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0431C2B-E2FF-F280-92BF-5E7C6A168FF3}"/>
              </a:ext>
            </a:extLst>
          </p:cNvPr>
          <p:cNvSpPr txBox="1"/>
          <p:nvPr userDrawn="1"/>
        </p:nvSpPr>
        <p:spPr bwMode="auto">
          <a:xfrm>
            <a:off x="2199084" y="2535550"/>
            <a:ext cx="7793832" cy="123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</a:pP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„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do not just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atisfy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ur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ustomers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an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light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600" i="1" dirty="0" err="1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m</a:t>
            </a:r>
            <a:r>
              <a:rPr lang="de-DE" sz="3600" i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07645859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1CDA38-6154-4D49-13CA-B3BD37184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896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71CDA38-6154-4D49-13CA-B3BD37184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 descr="Ein Bild, das Text, Person, computer, drinnen enthält.&#10;&#10;Automatisch generierte Beschreibung">
            <a:extLst>
              <a:ext uri="{FF2B5EF4-FFF2-40B4-BE49-F238E27FC236}">
                <a16:creationId xmlns:a16="http://schemas.microsoft.com/office/drawing/2014/main" id="{99EF44A3-7E34-C7FD-C95A-E9B16AFC72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ihandform 14">
            <a:extLst>
              <a:ext uri="{FF2B5EF4-FFF2-40B4-BE49-F238E27FC236}">
                <a16:creationId xmlns:a16="http://schemas.microsoft.com/office/drawing/2014/main" id="{E95DACB8-5A2D-CEEE-0265-122D0B5192A0}"/>
              </a:ext>
            </a:extLst>
          </p:cNvPr>
          <p:cNvSpPr/>
          <p:nvPr userDrawn="1"/>
        </p:nvSpPr>
        <p:spPr bwMode="auto">
          <a:xfrm>
            <a:off x="1" y="0"/>
            <a:ext cx="8438415" cy="6858000"/>
          </a:xfrm>
          <a:custGeom>
            <a:avLst/>
            <a:gdLst>
              <a:gd name="connsiteX0" fmla="*/ 0 w 8438415"/>
              <a:gd name="connsiteY0" fmla="*/ 0 h 6858000"/>
              <a:gd name="connsiteX1" fmla="*/ 8438415 w 8438415"/>
              <a:gd name="connsiteY1" fmla="*/ 0 h 6858000"/>
              <a:gd name="connsiteX2" fmla="*/ 5942308 w 8438415"/>
              <a:gd name="connsiteY2" fmla="*/ 6858000 h 6858000"/>
              <a:gd name="connsiteX3" fmla="*/ 0 w 84384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38415" h="6858000">
                <a:moveTo>
                  <a:pt x="0" y="0"/>
                </a:moveTo>
                <a:lnTo>
                  <a:pt x="8438415" y="0"/>
                </a:lnTo>
                <a:lnTo>
                  <a:pt x="59423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9E7F91-9B8B-F8A6-4F1C-3D32F3B8BEC8}"/>
              </a:ext>
            </a:extLst>
          </p:cNvPr>
          <p:cNvSpPr txBox="1"/>
          <p:nvPr userDrawn="1"/>
        </p:nvSpPr>
        <p:spPr bwMode="auto">
          <a:xfrm>
            <a:off x="5330190" y="1225781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6A7C89A-7D67-A29D-9D90-EEA55C7833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7E8320CE-EEAE-088F-756D-05AE31C997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9F3E61E-F8E7-D1D7-D7D7-5ED564BCF179}"/>
              </a:ext>
            </a:extLst>
          </p:cNvPr>
          <p:cNvSpPr/>
          <p:nvPr userDrawn="1"/>
        </p:nvSpPr>
        <p:spPr>
          <a:xfrm>
            <a:off x="494190" y="76263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Bildplatzhalter 3">
            <a:extLst>
              <a:ext uri="{FF2B5EF4-FFF2-40B4-BE49-F238E27FC236}">
                <a16:creationId xmlns:a16="http://schemas.microsoft.com/office/drawing/2014/main" id="{73BE4617-E1F3-F328-07D5-A06E18FB7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158398" y="5065713"/>
            <a:ext cx="1558638" cy="1243012"/>
          </a:xfrm>
          <a:prstGeom prst="rect">
            <a:avLst/>
          </a:prstGeom>
        </p:spPr>
        <p:txBody>
          <a:bodyPr anchor="ctr"/>
          <a:lstStyle>
            <a:lvl1pPr marL="72000" indent="0" algn="ctr">
              <a:buNone/>
              <a:defRPr/>
            </a:lvl1pPr>
          </a:lstStyle>
          <a:p>
            <a:r>
              <a:rPr lang="de-DE" dirty="0"/>
              <a:t>Platzhalter Kundenlogo</a:t>
            </a:r>
          </a:p>
        </p:txBody>
      </p:sp>
    </p:spTree>
    <p:extLst>
      <p:ext uri="{BB962C8B-B14F-4D97-AF65-F5344CB8AC3E}">
        <p14:creationId xmlns:p14="http://schemas.microsoft.com/office/powerpoint/2010/main" val="126149020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1CDA38-6154-4D49-13CA-B3BD37184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474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71CDA38-6154-4D49-13CA-B3BD37184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7E2AFE84-9547-D48B-9AB7-0F1949F37B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4829" y="0"/>
            <a:ext cx="9487171" cy="6858000"/>
          </a:xfrm>
          <a:prstGeom prst="rect">
            <a:avLst/>
          </a:prstGeom>
        </p:spPr>
      </p:pic>
      <p:sp>
        <p:nvSpPr>
          <p:cNvPr id="16" name="Freihandform 14">
            <a:extLst>
              <a:ext uri="{FF2B5EF4-FFF2-40B4-BE49-F238E27FC236}">
                <a16:creationId xmlns:a16="http://schemas.microsoft.com/office/drawing/2014/main" id="{E95DACB8-5A2D-CEEE-0265-122D0B5192A0}"/>
              </a:ext>
            </a:extLst>
          </p:cNvPr>
          <p:cNvSpPr/>
          <p:nvPr userDrawn="1"/>
        </p:nvSpPr>
        <p:spPr bwMode="auto">
          <a:xfrm>
            <a:off x="1" y="0"/>
            <a:ext cx="8438415" cy="6858000"/>
          </a:xfrm>
          <a:custGeom>
            <a:avLst/>
            <a:gdLst>
              <a:gd name="connsiteX0" fmla="*/ 0 w 8438415"/>
              <a:gd name="connsiteY0" fmla="*/ 0 h 6858000"/>
              <a:gd name="connsiteX1" fmla="*/ 8438415 w 8438415"/>
              <a:gd name="connsiteY1" fmla="*/ 0 h 6858000"/>
              <a:gd name="connsiteX2" fmla="*/ 5942308 w 8438415"/>
              <a:gd name="connsiteY2" fmla="*/ 6858000 h 6858000"/>
              <a:gd name="connsiteX3" fmla="*/ 0 w 84384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38415" h="6858000">
                <a:moveTo>
                  <a:pt x="0" y="0"/>
                </a:moveTo>
                <a:lnTo>
                  <a:pt x="8438415" y="0"/>
                </a:lnTo>
                <a:lnTo>
                  <a:pt x="59423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9E7F91-9B8B-F8A6-4F1C-3D32F3B8BEC8}"/>
              </a:ext>
            </a:extLst>
          </p:cNvPr>
          <p:cNvSpPr txBox="1"/>
          <p:nvPr userDrawn="1"/>
        </p:nvSpPr>
        <p:spPr bwMode="auto">
          <a:xfrm>
            <a:off x="5330190" y="1225781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defTabSz="0" eaLnBrk="0" hangingPunct="0">
              <a:spcBef>
                <a:spcPts val="200"/>
              </a:spcBef>
              <a:spcAft>
                <a:spcPts val="200"/>
              </a:spcAft>
              <a:buClr>
                <a:srgbClr val="FE6400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6A7C89A-7D67-A29D-9D90-EEA55C7833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190" y="825216"/>
            <a:ext cx="54072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7E8320CE-EEAE-088F-756D-05AE31C997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190" y="1629728"/>
            <a:ext cx="54072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9F3E61E-F8E7-D1D7-D7D7-5ED564BCF179}"/>
              </a:ext>
            </a:extLst>
          </p:cNvPr>
          <p:cNvSpPr/>
          <p:nvPr userDrawn="1"/>
        </p:nvSpPr>
        <p:spPr>
          <a:xfrm>
            <a:off x="494190" y="76263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658687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B90ADC7-92FA-8F2F-8572-3459139E04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140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B90ADC7-92FA-8F2F-8572-3459139E0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Ein Bild, das Text, Person, computer, drinnen enthält.&#10;&#10;Automatisch generierte Beschreibung">
            <a:extLst>
              <a:ext uri="{FF2B5EF4-FFF2-40B4-BE49-F238E27FC236}">
                <a16:creationId xmlns:a16="http://schemas.microsoft.com/office/drawing/2014/main" id="{1CC8C495-B305-A414-FC6B-9B5DC07BB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reihandform 13">
            <a:extLst>
              <a:ext uri="{FF2B5EF4-FFF2-40B4-BE49-F238E27FC236}">
                <a16:creationId xmlns:a16="http://schemas.microsoft.com/office/drawing/2014/main" id="{182AA0C3-35D7-DCD1-7DE6-13CEF9F04E83}"/>
              </a:ext>
            </a:extLst>
          </p:cNvPr>
          <p:cNvSpPr/>
          <p:nvPr userDrawn="1"/>
        </p:nvSpPr>
        <p:spPr bwMode="auto">
          <a:xfrm>
            <a:off x="1" y="0"/>
            <a:ext cx="8641491" cy="6858000"/>
          </a:xfrm>
          <a:custGeom>
            <a:avLst/>
            <a:gdLst>
              <a:gd name="connsiteX0" fmla="*/ 0 w 8641491"/>
              <a:gd name="connsiteY0" fmla="*/ 0 h 6858000"/>
              <a:gd name="connsiteX1" fmla="*/ 6145383 w 8641491"/>
              <a:gd name="connsiteY1" fmla="*/ 0 h 6858000"/>
              <a:gd name="connsiteX2" fmla="*/ 8641491 w 8641491"/>
              <a:gd name="connsiteY2" fmla="*/ 6858000 h 6858000"/>
              <a:gd name="connsiteX3" fmla="*/ 0 w 864149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41491" h="6858000">
                <a:moveTo>
                  <a:pt x="0" y="0"/>
                </a:moveTo>
                <a:lnTo>
                  <a:pt x="6145383" y="0"/>
                </a:lnTo>
                <a:lnTo>
                  <a:pt x="864149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reihandform 16">
            <a:extLst>
              <a:ext uri="{FF2B5EF4-FFF2-40B4-BE49-F238E27FC236}">
                <a16:creationId xmlns:a16="http://schemas.microsoft.com/office/drawing/2014/main" id="{CAD31147-B55F-8166-3313-272B70F2E717}"/>
              </a:ext>
            </a:extLst>
          </p:cNvPr>
          <p:cNvSpPr/>
          <p:nvPr userDrawn="1"/>
        </p:nvSpPr>
        <p:spPr bwMode="auto">
          <a:xfrm>
            <a:off x="6138833" y="0"/>
            <a:ext cx="6053166" cy="6858000"/>
          </a:xfrm>
          <a:custGeom>
            <a:avLst/>
            <a:gdLst>
              <a:gd name="connsiteX0" fmla="*/ 0 w 6053166"/>
              <a:gd name="connsiteY0" fmla="*/ 0 h 6858000"/>
              <a:gd name="connsiteX1" fmla="*/ 6053166 w 6053166"/>
              <a:gd name="connsiteY1" fmla="*/ 0 h 6858000"/>
              <a:gd name="connsiteX2" fmla="*/ 6053166 w 6053166"/>
              <a:gd name="connsiteY2" fmla="*/ 6858000 h 6858000"/>
              <a:gd name="connsiteX3" fmla="*/ 2496107 w 605316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53166" h="6858000">
                <a:moveTo>
                  <a:pt x="0" y="0"/>
                </a:moveTo>
                <a:lnTo>
                  <a:pt x="6053166" y="0"/>
                </a:lnTo>
                <a:lnTo>
                  <a:pt x="6053166" y="6858000"/>
                </a:lnTo>
                <a:lnTo>
                  <a:pt x="2496107" y="6858000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4819867D-A1B8-E0C3-1169-18BC6A7769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600" y="3991326"/>
            <a:ext cx="6292800" cy="756000"/>
          </a:xfrm>
        </p:spPr>
        <p:txBody>
          <a:bodyPr vert="horz" anchor="b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8C205F22-2544-12F1-109E-E3F67D7F18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600" y="4795838"/>
            <a:ext cx="6292800" cy="756000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>
                <a:solidFill>
                  <a:srgbClr val="D7D7D7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6FB8A2B-2D40-0AE9-D043-E9FC8F9FB097}"/>
              </a:ext>
            </a:extLst>
          </p:cNvPr>
          <p:cNvSpPr/>
          <p:nvPr userDrawn="1"/>
        </p:nvSpPr>
        <p:spPr>
          <a:xfrm>
            <a:off x="345600" y="3928746"/>
            <a:ext cx="914400" cy="45719"/>
          </a:xfrm>
          <a:prstGeom prst="rect">
            <a:avLst/>
          </a:prstGeom>
          <a:solidFill>
            <a:srgbClr val="FF64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89209865-8AB4-015D-2C32-1FAD4D2DDE8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248298" y="284779"/>
            <a:ext cx="1558638" cy="1243012"/>
          </a:xfrm>
          <a:prstGeom prst="rect">
            <a:avLst/>
          </a:prstGeom>
        </p:spPr>
        <p:txBody>
          <a:bodyPr anchor="ctr"/>
          <a:lstStyle>
            <a:lvl1pPr marL="72000" indent="0" algn="ctr">
              <a:buNone/>
              <a:defRPr/>
            </a:lvl1pPr>
          </a:lstStyle>
          <a:p>
            <a:r>
              <a:rPr lang="de-DE" dirty="0"/>
              <a:t>Platzhalter Kundenlogo</a:t>
            </a:r>
          </a:p>
        </p:txBody>
      </p:sp>
    </p:spTree>
    <p:extLst>
      <p:ext uri="{BB962C8B-B14F-4D97-AF65-F5344CB8AC3E}">
        <p14:creationId xmlns:p14="http://schemas.microsoft.com/office/powerpoint/2010/main" val="334055748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Ohne Inhalts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6666BB-DF72-49F7-995D-DCE5910B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74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26666BB-DF72-49F7-995D-DCE5910B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0">
            <a:extLst>
              <a:ext uri="{FF2B5EF4-FFF2-40B4-BE49-F238E27FC236}">
                <a16:creationId xmlns:a16="http://schemas.microsoft.com/office/drawing/2014/main" id="{5253050E-B9DC-429E-96B7-21A29E113A0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783584D-CA9D-E420-29E6-CF3090A0B8E8}"/>
              </a:ext>
            </a:extLst>
          </p:cNvPr>
          <p:cNvSpPr txBox="1"/>
          <p:nvPr userDrawn="1"/>
        </p:nvSpPr>
        <p:spPr bwMode="auto">
          <a:xfrm>
            <a:off x="11187113" y="6557963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988466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Mit Inhalts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6666BB-DF72-49F7-995D-DCE5910B2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74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26666BB-DF72-49F7-995D-DCE5910B2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0">
            <a:extLst>
              <a:ext uri="{FF2B5EF4-FFF2-40B4-BE49-F238E27FC236}">
                <a16:creationId xmlns:a16="http://schemas.microsoft.com/office/drawing/2014/main" id="{5253050E-B9DC-429E-96B7-21A29E113A0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B04E87C-FA12-C60F-64A2-FC09B63C76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075" y="1268413"/>
            <a:ext cx="11510963" cy="5040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5613696-A843-A9AE-BD2A-74A9C154EE18}"/>
              </a:ext>
            </a:extLst>
          </p:cNvPr>
          <p:cNvSpPr txBox="1"/>
          <p:nvPr userDrawn="1"/>
        </p:nvSpPr>
        <p:spPr bwMode="auto">
          <a:xfrm>
            <a:off x="11054219" y="6613742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5F18765-0AB0-667F-2610-23858BDEDD7C}"/>
              </a:ext>
            </a:extLst>
          </p:cNvPr>
          <p:cNvSpPr txBox="1"/>
          <p:nvPr userDrawn="1"/>
        </p:nvSpPr>
        <p:spPr bwMode="auto">
          <a:xfrm>
            <a:off x="591671" y="277906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de-DE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109857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layout mit So-Wha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2C2AD5-059A-41BF-BB3F-400955987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4A1BF09-D41B-4269-B7C6-E1ABD617762F}"/>
              </a:ext>
            </a:extLst>
          </p:cNvPr>
          <p:cNvSpPr/>
          <p:nvPr userDrawn="1"/>
        </p:nvSpPr>
        <p:spPr bwMode="auto">
          <a:xfrm>
            <a:off x="334963" y="5769649"/>
            <a:ext cx="11522075" cy="54000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358775"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77FE6652-EBC1-43B8-BB5E-A8224E6B6014}"/>
              </a:ext>
            </a:extLst>
          </p:cNvPr>
          <p:cNvSpPr/>
          <p:nvPr userDrawn="1"/>
        </p:nvSpPr>
        <p:spPr bwMode="auto">
          <a:xfrm rot="8100000">
            <a:off x="453426" y="5944569"/>
            <a:ext cx="180001" cy="180001"/>
          </a:xfrm>
          <a:custGeom>
            <a:avLst/>
            <a:gdLst>
              <a:gd name="connsiteX0" fmla="*/ 1 w 180001"/>
              <a:gd name="connsiteY0" fmla="*/ 180000 h 180001"/>
              <a:gd name="connsiteX1" fmla="*/ 0 w 180001"/>
              <a:gd name="connsiteY1" fmla="*/ 1 h 180001"/>
              <a:gd name="connsiteX2" fmla="*/ 1 w 180001"/>
              <a:gd name="connsiteY2" fmla="*/ 1 h 180001"/>
              <a:gd name="connsiteX3" fmla="*/ 1 w 180001"/>
              <a:gd name="connsiteY3" fmla="*/ 0 h 180001"/>
              <a:gd name="connsiteX4" fmla="*/ 180001 w 180001"/>
              <a:gd name="connsiteY4" fmla="*/ 0 h 180001"/>
              <a:gd name="connsiteX5" fmla="*/ 180001 w 180001"/>
              <a:gd name="connsiteY5" fmla="*/ 36000 h 180001"/>
              <a:gd name="connsiteX6" fmla="*/ 36001 w 180001"/>
              <a:gd name="connsiteY6" fmla="*/ 36000 h 180001"/>
              <a:gd name="connsiteX7" fmla="*/ 36001 w 180001"/>
              <a:gd name="connsiteY7" fmla="*/ 180001 h 1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001" h="180001">
                <a:moveTo>
                  <a:pt x="1" y="180000"/>
                </a:moveTo>
                <a:lnTo>
                  <a:pt x="0" y="1"/>
                </a:lnTo>
                <a:lnTo>
                  <a:pt x="1" y="1"/>
                </a:lnTo>
                <a:lnTo>
                  <a:pt x="1" y="0"/>
                </a:lnTo>
                <a:lnTo>
                  <a:pt x="180001" y="0"/>
                </a:lnTo>
                <a:lnTo>
                  <a:pt x="180001" y="36000"/>
                </a:lnTo>
                <a:lnTo>
                  <a:pt x="36001" y="36000"/>
                </a:lnTo>
                <a:lnTo>
                  <a:pt x="36001" y="180001"/>
                </a:ln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A437B8D-BE9E-409A-B352-A5551F4203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5813" y="5769649"/>
            <a:ext cx="11071225" cy="540000"/>
          </a:xfrm>
          <a:prstGeom prst="rect">
            <a:avLst/>
          </a:prstGeom>
        </p:spPr>
        <p:txBody>
          <a:bodyPr lIns="0" anchor="ctr"/>
          <a:lstStyle>
            <a:lvl1pPr marL="7200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icker Box Text hinzufüg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051035B-A791-7EF8-B02C-47DC0C2A450E}"/>
              </a:ext>
            </a:extLst>
          </p:cNvPr>
          <p:cNvSpPr txBox="1"/>
          <p:nvPr userDrawn="1"/>
        </p:nvSpPr>
        <p:spPr bwMode="auto">
          <a:xfrm>
            <a:off x="11115675" y="662940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677B1F9-0AB6-99B8-15F5-8FD4A4BA8275}"/>
              </a:ext>
            </a:extLst>
          </p:cNvPr>
          <p:cNvSpPr txBox="1"/>
          <p:nvPr userDrawn="1"/>
        </p:nvSpPr>
        <p:spPr bwMode="auto">
          <a:xfrm>
            <a:off x="11204532" y="6607479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52000" indent="-180000" algn="l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err="1">
              <a:latin typeface="+mn-lt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59472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63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6B12E-D24D-0514-840D-D1E7C188D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5918B95-4DBC-35B8-6F87-7257103A4B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268413"/>
            <a:ext cx="5689600" cy="5040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575E3EEA-98BA-9B71-1751-E952AC0696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67439" y="1268413"/>
            <a:ext cx="5689600" cy="5040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946851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ener Schnit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74E5B-208D-4EDA-8B7F-E395D0FB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956872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046" userDrawn="1">
          <p15:clr>
            <a:srgbClr val="FBAE40"/>
          </p15:clr>
        </p15:guide>
        <p15:guide id="2" pos="293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08224023"/>
              </p:ext>
            </p:extLst>
          </p:nvPr>
        </p:nvGraphicFramePr>
        <p:xfrm>
          <a:off x="1959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722" imgH="714" progId="TCLayout.ActiveDocument.1">
                  <p:embed/>
                </p:oleObj>
              </mc:Choice>
              <mc:Fallback>
                <p:oleObj name="think-cell Folie" r:id="rId20" imgW="722" imgH="71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auto">
          <a:xfrm>
            <a:off x="-9988" y="6357"/>
            <a:ext cx="9649289" cy="71437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636962" name="Text Box 34"/>
          <p:cNvSpPr txBox="1">
            <a:spLocks noChangeArrowheads="1"/>
          </p:cNvSpPr>
          <p:nvPr userDrawn="1"/>
        </p:nvSpPr>
        <p:spPr bwMode="auto">
          <a:xfrm>
            <a:off x="11521440" y="6535777"/>
            <a:ext cx="315278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95250" indent="-7938" algn="r">
              <a:spcBef>
                <a:spcPct val="50000"/>
              </a:spcBef>
              <a:buClr>
                <a:schemeClr val="bg1"/>
              </a:buClr>
              <a:buSzPct val="150000"/>
              <a:buFont typeface="Wingdings" charset="2"/>
              <a:buNone/>
              <a:defRPr/>
            </a:pPr>
            <a:fld id="{F6BAA8BF-8823-4CD1-8B1A-151442305F43}" type="slidenum">
              <a:rPr lang="de-DE" sz="800">
                <a:solidFill>
                  <a:schemeClr val="tx1"/>
                </a:solidFill>
                <a:latin typeface="+mj-lt"/>
                <a:ea typeface="ヒラギノ角ゴ Pro W3" charset="-128"/>
                <a:cs typeface="+mn-cs"/>
              </a:rPr>
              <a:pPr marL="95250" indent="-7938" algn="r">
                <a:spcBef>
                  <a:spcPct val="50000"/>
                </a:spcBef>
                <a:buClr>
                  <a:schemeClr val="bg1"/>
                </a:buClr>
                <a:buSzPct val="150000"/>
                <a:buFont typeface="Wingdings" charset="2"/>
                <a:buNone/>
                <a:defRPr/>
              </a:pPr>
              <a:t>‹#›</a:t>
            </a:fld>
            <a:endParaRPr lang="de-DE" sz="800" dirty="0">
              <a:solidFill>
                <a:schemeClr val="tx1"/>
              </a:solidFill>
              <a:latin typeface="+mj-lt"/>
              <a:ea typeface="ヒラギノ角ゴ Pro W3" charset="-128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6D3299-890E-402F-BC97-D06F239FCF19}"/>
              </a:ext>
            </a:extLst>
          </p:cNvPr>
          <p:cNvSpPr/>
          <p:nvPr userDrawn="1"/>
        </p:nvSpPr>
        <p:spPr bwMode="auto">
          <a:xfrm>
            <a:off x="10790647" y="6321866"/>
            <a:ext cx="751113" cy="33702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None/>
              <a:tabLst/>
            </a:pPr>
            <a:r>
              <a:rPr kumimoji="0" lang="de-DE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ww.fuks.org</a:t>
            </a:r>
          </a:p>
        </p:txBody>
      </p:sp>
      <p:sp>
        <p:nvSpPr>
          <p:cNvPr id="16" name="Titelplatzhalter 10">
            <a:extLst>
              <a:ext uri="{FF2B5EF4-FFF2-40B4-BE49-F238E27FC236}">
                <a16:creationId xmlns:a16="http://schemas.microsoft.com/office/drawing/2014/main" id="{C9508361-60CD-48C3-B603-1BEEBF15A9F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6537" y="429911"/>
            <a:ext cx="11510501" cy="75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52B2AB4-0981-47C7-BF66-FBF4456CE6A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4963" y="353864"/>
            <a:ext cx="540000" cy="0"/>
          </a:xfrm>
          <a:prstGeom prst="line">
            <a:avLst/>
          </a:prstGeom>
          <a:ln w="38100"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5045B87-293A-0439-0800-6C9BDBC77156}"/>
              </a:ext>
            </a:extLst>
          </p:cNvPr>
          <p:cNvSpPr/>
          <p:nvPr userDrawn="1"/>
        </p:nvSpPr>
        <p:spPr bwMode="auto">
          <a:xfrm>
            <a:off x="11112000" y="0"/>
            <a:ext cx="108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5EA5EE6-200B-9181-31D2-7162245B64AF}"/>
              </a:ext>
            </a:extLst>
          </p:cNvPr>
          <p:cNvSpPr/>
          <p:nvPr userDrawn="1"/>
        </p:nvSpPr>
        <p:spPr bwMode="auto">
          <a:xfrm rot="5400000">
            <a:off x="11544000" y="432000"/>
            <a:ext cx="1080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BF4A352-1FA7-D501-380D-84A059BA16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6537" y="1268413"/>
            <a:ext cx="11510501" cy="5040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68836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5" r:id="rId2"/>
    <p:sldLayoutId id="2147484131" r:id="rId3"/>
    <p:sldLayoutId id="2147484126" r:id="rId4"/>
    <p:sldLayoutId id="2147484110" r:id="rId5"/>
    <p:sldLayoutId id="2147484137" r:id="rId6"/>
    <p:sldLayoutId id="2147484114" r:id="rId7"/>
    <p:sldLayoutId id="2147484129" r:id="rId8"/>
    <p:sldLayoutId id="2147484115" r:id="rId9"/>
    <p:sldLayoutId id="2147484116" r:id="rId10"/>
    <p:sldLayoutId id="2147484117" r:id="rId11"/>
    <p:sldLayoutId id="2147484118" r:id="rId12"/>
    <p:sldLayoutId id="2147484130" r:id="rId13"/>
    <p:sldLayoutId id="2147484132" r:id="rId14"/>
    <p:sldLayoutId id="2147484135" r:id="rId15"/>
    <p:sldLayoutId id="2147484134" r:id="rId16"/>
    <p:sldLayoutId id="2147484136" r:id="rId17"/>
  </p:sldLayoutIdLst>
  <p:transition/>
  <p:hf sldNum="0" hdr="0"/>
  <p:txStyles>
    <p:titleStyle>
      <a:lvl1pPr marL="0" indent="0" algn="l" rtl="0" eaLnBrk="0" fontAlgn="base" hangingPunct="0">
        <a:spcBef>
          <a:spcPct val="0"/>
        </a:spcBef>
        <a:spcAft>
          <a:spcPct val="0"/>
        </a:spcAft>
        <a:tabLst>
          <a:tab pos="0" algn="l"/>
        </a:tabLst>
        <a:defRPr sz="2400" b="1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2pPr>
      <a:lvl3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3pPr>
      <a:lvl4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4pPr>
      <a:lvl5pPr marL="153988" indent="-153988"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  <a:ea typeface="ヒラギノ角ゴ Pro W3" charset="-128"/>
          <a:cs typeface="ヒラギノ角ゴ Pro W3" charset="-128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9pPr>
    </p:titleStyle>
    <p:bodyStyle>
      <a:lvl1pPr marL="252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SzPct val="100000"/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540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2pPr>
      <a:lvl3pPr marL="900000" indent="-18000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Wingdings" pitchFamily="2" charset="2"/>
        <a:buChar char="§"/>
        <a:defRPr lang="de-DE" sz="1400" dirty="0" smtClean="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3pPr>
      <a:lvl4pPr marL="1643063" indent="-2508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ebdings" pitchFamily="18" charset="2"/>
        <a:buChar char="4"/>
        <a:defRPr sz="140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4pPr>
      <a:lvl5pPr marL="2051050" indent="-2508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ebdings" pitchFamily="18" charset="2"/>
        <a:buChar char="4"/>
        <a:defRPr sz="1400">
          <a:solidFill>
            <a:schemeClr val="tx1"/>
          </a:solidFill>
          <a:latin typeface="+mn-lt"/>
          <a:ea typeface="ヒラギノ角ゴ Pro W3" charset="-128"/>
          <a:cs typeface="ヒラギノ角ゴ Pro W3"/>
        </a:defRPr>
      </a:lvl5pPr>
      <a:lvl6pPr marL="25082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6pPr>
      <a:lvl7pPr marL="29654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7pPr>
      <a:lvl8pPr marL="34226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8pPr>
      <a:lvl9pPr marL="3879850" indent="-228600" algn="l" rtl="0" fontAlgn="base">
        <a:spcBef>
          <a:spcPct val="20000"/>
        </a:spcBef>
        <a:spcAft>
          <a:spcPct val="0"/>
        </a:spcAft>
        <a:buClr>
          <a:srgbClr val="FE6400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799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5" Type="http://schemas.openxmlformats.org/officeDocument/2006/relationships/image" Target="../media/image39.png"/><Relationship Id="rId4" Type="http://schemas.openxmlformats.org/officeDocument/2006/relationships/image" Target="../media/image38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12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video" Target="../media/media1.mp4"/><Relationship Id="rId7" Type="http://schemas.openxmlformats.org/officeDocument/2006/relationships/image" Target="../media/image17.emf"/><Relationship Id="rId12" Type="http://schemas.openxmlformats.org/officeDocument/2006/relationships/image" Target="../media/image22.gif"/><Relationship Id="rId2" Type="http://schemas.microsoft.com/office/2007/relationships/media" Target="../media/media1.mp4"/><Relationship Id="rId1" Type="http://schemas.openxmlformats.org/officeDocument/2006/relationships/tags" Target="../tags/tag18.x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0.jp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5" Type="http://schemas.openxmlformats.org/officeDocument/2006/relationships/image" Target="../media/image23.png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0.svg"/><Relationship Id="rId3" Type="http://schemas.openxmlformats.org/officeDocument/2006/relationships/notesSlide" Target="../notesSlides/notesSlide4.xml"/><Relationship Id="rId7" Type="http://schemas.microsoft.com/office/2007/relationships/hdphoto" Target="../media/hdphoto4.wdp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image" Target="../media/image25.png"/><Relationship Id="rId11" Type="http://schemas.microsoft.com/office/2007/relationships/hdphoto" Target="../media/hdphoto5.wdp"/><Relationship Id="rId5" Type="http://schemas.openxmlformats.org/officeDocument/2006/relationships/image" Target="../media/image24.emf"/><Relationship Id="rId15" Type="http://schemas.openxmlformats.org/officeDocument/2006/relationships/image" Target="../media/image32.svg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27.svg"/><Relationship Id="rId1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66B3A09A-D806-4347-6783-217B29FB8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70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9" imgH="349" progId="TCLayout.ActiveDocument.1">
                  <p:embed/>
                </p:oleObj>
              </mc:Choice>
              <mc:Fallback>
                <p:oleObj name="think-cell Folie" r:id="rId3" imgW="349" imgH="349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66B3A09A-D806-4347-6783-217B29FB8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02890381-D415-0642-EEB9-1CA082A53C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anchor="t">
            <a:normAutofit fontScale="90000"/>
          </a:bodyPr>
          <a:lstStyle/>
          <a:p>
            <a:r>
              <a:rPr lang="de-DE" sz="4400" dirty="0"/>
              <a:t>Cisco Spaces </a:t>
            </a:r>
            <a:r>
              <a:rPr lang="de-DE" sz="4400" dirty="0" err="1"/>
              <a:t>for</a:t>
            </a:r>
            <a:r>
              <a:rPr lang="de-DE" sz="4400" dirty="0"/>
              <a:t> Traffic </a:t>
            </a:r>
            <a:r>
              <a:rPr lang="de-DE" sz="4400" dirty="0" err="1"/>
              <a:t>Optimization</a:t>
            </a:r>
            <a:endParaRPr lang="de-DE" dirty="0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CD9453A1-114C-0029-1A86-804BC11B43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699943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E9DACBD-EB21-2503-69FE-213BB10F08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49451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20AA4D0-C3AF-96A7-2135-76D6E8788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ckup</a:t>
            </a:r>
          </a:p>
        </p:txBody>
      </p:sp>
      <p:pic>
        <p:nvPicPr>
          <p:cNvPr id="6" name="Picture 6" descr="A green traffic light on a pole&#10;&#10;Description automatically generated">
            <a:extLst>
              <a:ext uri="{FF2B5EF4-FFF2-40B4-BE49-F238E27FC236}">
                <a16:creationId xmlns:a16="http://schemas.microsoft.com/office/drawing/2014/main" id="{262CD992-6244-D973-258F-FCC7C8A889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095" y="1998522"/>
            <a:ext cx="2764836" cy="2860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6387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287A5-EDB0-4779-0D7D-5E42C7C5E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0E0143-71CD-7012-178C-F442617FDB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screenshot of a graph&#10;&#10;Description automatically generated">
            <a:extLst>
              <a:ext uri="{FF2B5EF4-FFF2-40B4-BE49-F238E27FC236}">
                <a16:creationId xmlns:a16="http://schemas.microsoft.com/office/drawing/2014/main" id="{506195B8-8B70-8E24-5249-6D0F8EF98E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13" y="1402318"/>
            <a:ext cx="11814325" cy="446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497559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13A0D-CB70-00ED-FF3F-72D3EFA651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B9624D-0338-3FD1-4172-B24A66C30D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2AD3B6F1-748D-2AAD-4205-344D5A9820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0308" y="828270"/>
            <a:ext cx="9571383" cy="5231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11339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6EB317-3C70-9289-DFFC-660563F27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519FDD-3189-3F70-2BE2-67514EEB7D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FEA3C31-C3E9-3D72-3E06-DE61A89288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375" y="0"/>
            <a:ext cx="11518088" cy="6860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25551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D43983-77AC-F6EC-B86E-F4231C729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7262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draußen, Auto, Fahrzeug, Landfahrzeug enthält.&#10;&#10;Automatisch generierte Beschreibung">
            <a:extLst>
              <a:ext uri="{FF2B5EF4-FFF2-40B4-BE49-F238E27FC236}">
                <a16:creationId xmlns:a16="http://schemas.microsoft.com/office/drawing/2014/main" id="{49EA741A-B500-DD7C-E84E-33BE87031F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619"/>
            <a:ext cx="12185576" cy="6861619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98A8A31-EFD5-A13D-C922-085240E3D3FF}"/>
              </a:ext>
            </a:extLst>
          </p:cNvPr>
          <p:cNvGrpSpPr/>
          <p:nvPr/>
        </p:nvGrpSpPr>
        <p:grpSpPr>
          <a:xfrm>
            <a:off x="-154380" y="-346364"/>
            <a:ext cx="13514911" cy="7606145"/>
            <a:chOff x="-154380" y="-346364"/>
            <a:chExt cx="13514911" cy="7606145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4F351600-E0B4-1A79-E431-F8D3BE4A1582}"/>
                </a:ext>
              </a:extLst>
            </p:cNvPr>
            <p:cNvSpPr/>
            <p:nvPr/>
          </p:nvSpPr>
          <p:spPr bwMode="auto">
            <a:xfrm>
              <a:off x="-154380" y="-346364"/>
              <a:ext cx="13514911" cy="7606145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63991"/>
              </a:schemeClr>
            </a:soli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buFont typeface="Wingdings" pitchFamily="2" charset="2"/>
                <a:buChar char="§"/>
                <a:tabLst/>
              </a:pPr>
              <a:endPara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C91A50EF-4D82-3F25-9AA2-7EDEB0BB2E0A}"/>
                </a:ext>
              </a:extLst>
            </p:cNvPr>
            <p:cNvGrpSpPr/>
            <p:nvPr/>
          </p:nvGrpSpPr>
          <p:grpSpPr>
            <a:xfrm>
              <a:off x="398470" y="2221018"/>
              <a:ext cx="6204606" cy="4544907"/>
              <a:chOff x="398470" y="2221018"/>
              <a:chExt cx="6204606" cy="4544907"/>
            </a:xfrm>
          </p:grpSpPr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EB2681D-E7CB-0E36-88C4-5748513062A4}"/>
                  </a:ext>
                </a:extLst>
              </p:cNvPr>
              <p:cNvSpPr txBox="1"/>
              <p:nvPr/>
            </p:nvSpPr>
            <p:spPr bwMode="auto">
              <a:xfrm>
                <a:off x="5538247" y="2221018"/>
                <a:ext cx="914400" cy="914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ctr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3600" dirty="0">
                    <a:solidFill>
                      <a:schemeClr val="bg1"/>
                    </a:solidFill>
                    <a:latin typeface="+mn-lt"/>
                    <a:ea typeface="ヒラギノ角ゴ Pro W3" charset="-128"/>
                    <a:cs typeface="ヒラギノ角ゴ Pro W3" charset="-128"/>
                  </a:rPr>
                  <a:t>100 traffic simulations for construction sites per year	</a:t>
                </a:r>
              </a:p>
            </p:txBody>
          </p: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5D333FD9-F2D6-D07A-2D78-26B81A40DF6E}"/>
                  </a:ext>
                </a:extLst>
              </p:cNvPr>
              <p:cNvSpPr txBox="1"/>
              <p:nvPr/>
            </p:nvSpPr>
            <p:spPr bwMode="auto">
              <a:xfrm>
                <a:off x="5588924" y="4623128"/>
                <a:ext cx="1014152" cy="10141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ctr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3600" dirty="0">
                    <a:solidFill>
                      <a:schemeClr val="bg1"/>
                    </a:solidFill>
                    <a:latin typeface="+mn-lt"/>
                    <a:ea typeface="ヒラギノ角ゴ Pro W3" charset="-128"/>
                    <a:cs typeface="ヒラギノ角ゴ Pro W3" charset="-128"/>
                  </a:rPr>
                  <a:t>~70.000 CHF per simulation</a:t>
                </a:r>
              </a:p>
            </p:txBody>
          </p:sp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3E432BA3-D56E-4D48-A158-51180B2E2085}"/>
                  </a:ext>
                </a:extLst>
              </p:cNvPr>
              <p:cNvSpPr txBox="1"/>
              <p:nvPr/>
            </p:nvSpPr>
            <p:spPr bwMode="auto">
              <a:xfrm>
                <a:off x="398470" y="5851525"/>
                <a:ext cx="914400" cy="914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ctr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2400" dirty="0">
                    <a:solidFill>
                      <a:schemeClr val="bg1"/>
                    </a:solidFill>
                    <a:latin typeface="+mn-lt"/>
                    <a:ea typeface="ヒラギノ角ゴ Pro W3" charset="-128"/>
                    <a:cs typeface="ヒラギノ角ゴ Pro W3" charset="-128"/>
                  </a:rPr>
                  <a:t>Zurich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63471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03061DB1-245B-35AE-4481-7436154C76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2620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061DB1-245B-35AE-4481-7436154C76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95FD37-9437-B4B8-4280-D30321226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ata </a:t>
            </a:r>
            <a:r>
              <a:rPr lang="de-DE" dirty="0" err="1"/>
              <a:t>provid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navigation</a:t>
            </a:r>
            <a:r>
              <a:rPr lang="de-DE" dirty="0"/>
              <a:t> </a:t>
            </a:r>
            <a:r>
              <a:rPr lang="de-DE" dirty="0" err="1"/>
              <a:t>services</a:t>
            </a:r>
            <a:r>
              <a:rPr lang="de-DE" dirty="0"/>
              <a:t>, </a:t>
            </a:r>
            <a:r>
              <a:rPr lang="de-DE" dirty="0" err="1"/>
              <a:t>although</a:t>
            </a:r>
            <a:r>
              <a:rPr lang="de-DE" dirty="0"/>
              <a:t> promising,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in </a:t>
            </a:r>
            <a:r>
              <a:rPr lang="de-DE" dirty="0" err="1"/>
              <a:t>resolution</a:t>
            </a:r>
            <a:r>
              <a:rPr lang="de-DE" dirty="0"/>
              <a:t> and </a:t>
            </a:r>
            <a:r>
              <a:rPr lang="de-DE" dirty="0" err="1"/>
              <a:t>too</a:t>
            </a:r>
            <a:r>
              <a:rPr lang="de-DE" dirty="0"/>
              <a:t> high in </a:t>
            </a:r>
            <a:r>
              <a:rPr lang="de-DE" dirty="0" err="1"/>
              <a:t>price</a:t>
            </a:r>
            <a:r>
              <a:rPr lang="de-DE" dirty="0"/>
              <a:t> but…</a:t>
            </a:r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9930FFEB-9D2C-B526-C707-A7B4A8B50CAB}"/>
              </a:ext>
            </a:extLst>
          </p:cNvPr>
          <p:cNvGrpSpPr/>
          <p:nvPr/>
        </p:nvGrpSpPr>
        <p:grpSpPr>
          <a:xfrm>
            <a:off x="3689778" y="2337391"/>
            <a:ext cx="2193566" cy="323850"/>
            <a:chOff x="4566000" y="2337391"/>
            <a:chExt cx="3060000" cy="32385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0D8586B9-7FB9-CB26-2E5F-AF71F603F523}"/>
                </a:ext>
              </a:extLst>
            </p:cNvPr>
            <p:cNvSpPr/>
            <p:nvPr/>
          </p:nvSpPr>
          <p:spPr bwMode="auto">
            <a:xfrm>
              <a:off x="4566001" y="2337391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lang="de-DE" sz="1400" b="1" dirty="0" err="1"/>
                <a:t>Current</a:t>
              </a:r>
              <a:r>
                <a:rPr lang="de-DE" sz="1400" b="1" dirty="0"/>
                <a:t> </a:t>
              </a:r>
              <a:r>
                <a:rPr lang="de-DE" sz="1400" b="1" dirty="0" err="1"/>
                <a:t>way</a:t>
              </a:r>
              <a:endParaRPr kumimoji="0" lang="de-DE" sz="14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cxnSp>
          <p:nvCxnSpPr>
            <p:cNvPr id="14" name="Gerader Verbinder 23">
              <a:extLst>
                <a:ext uri="{FF2B5EF4-FFF2-40B4-BE49-F238E27FC236}">
                  <a16:creationId xmlns:a16="http://schemas.microsoft.com/office/drawing/2014/main" id="{09B1C3EF-4A59-98F7-4131-88CFBC9B665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66000" y="2659516"/>
              <a:ext cx="3059999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9CDDBE15-CAC8-B9CB-E9E7-D28D73ED6915}"/>
              </a:ext>
            </a:extLst>
          </p:cNvPr>
          <p:cNvGrpSpPr/>
          <p:nvPr/>
        </p:nvGrpSpPr>
        <p:grpSpPr>
          <a:xfrm>
            <a:off x="7384623" y="1388211"/>
            <a:ext cx="4177597" cy="322125"/>
            <a:chOff x="8502222" y="2337391"/>
            <a:chExt cx="4177597" cy="322125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15E8344-CB2D-2C97-A116-2A20D3435EDA}"/>
                </a:ext>
              </a:extLst>
            </p:cNvPr>
            <p:cNvSpPr/>
            <p:nvPr/>
          </p:nvSpPr>
          <p:spPr bwMode="auto">
            <a:xfrm>
              <a:off x="8502223" y="2337391"/>
              <a:ext cx="3976054" cy="298828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lang="de-DE" sz="2400" b="1" dirty="0"/>
                <a:t>The promising </a:t>
              </a:r>
              <a:r>
                <a:rPr lang="de-DE" sz="2400" b="1" dirty="0" err="1"/>
                <a:t>way</a:t>
              </a:r>
              <a:endParaRPr kumimoji="0" lang="de-DE" sz="24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cxnSp>
          <p:nvCxnSpPr>
            <p:cNvPr id="23" name="Gerader Verbinder 32">
              <a:extLst>
                <a:ext uri="{FF2B5EF4-FFF2-40B4-BE49-F238E27FC236}">
                  <a16:creationId xmlns:a16="http://schemas.microsoft.com/office/drawing/2014/main" id="{1B4D9217-2383-CC00-1615-0D247898BC1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02222" y="2659516"/>
              <a:ext cx="4177597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F31E191-45F8-0192-8F54-7C7C9C291464}"/>
              </a:ext>
            </a:extLst>
          </p:cNvPr>
          <p:cNvGrpSpPr/>
          <p:nvPr/>
        </p:nvGrpSpPr>
        <p:grpSpPr>
          <a:xfrm>
            <a:off x="629781" y="2337391"/>
            <a:ext cx="2193566" cy="323850"/>
            <a:chOff x="1158667" y="2337391"/>
            <a:chExt cx="3060000" cy="32385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9F516D8E-B637-E597-7A7F-432279CE5BC5}"/>
                </a:ext>
              </a:extLst>
            </p:cNvPr>
            <p:cNvSpPr/>
            <p:nvPr/>
          </p:nvSpPr>
          <p:spPr bwMode="auto">
            <a:xfrm>
              <a:off x="1158668" y="2337391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lang="de-DE" sz="1400" b="1" dirty="0"/>
                <a:t>Traditional </a:t>
              </a:r>
              <a:r>
                <a:rPr lang="de-DE" sz="1400" b="1" dirty="0" err="1"/>
                <a:t>way</a:t>
              </a:r>
              <a:endParaRPr kumimoji="0" lang="de-DE" sz="14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cxnSp>
          <p:nvCxnSpPr>
            <p:cNvPr id="5" name="Gerader Verbinder 7">
              <a:extLst>
                <a:ext uri="{FF2B5EF4-FFF2-40B4-BE49-F238E27FC236}">
                  <a16:creationId xmlns:a16="http://schemas.microsoft.com/office/drawing/2014/main" id="{3DBC785E-255F-C746-2085-847C0DB2C47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58667" y="2659516"/>
              <a:ext cx="3059999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65" name="Picture 7" descr="Cartoon of a caveman holding a stick next to a digital sign&#10;&#10;Description automatically generated">
            <a:extLst>
              <a:ext uri="{FF2B5EF4-FFF2-40B4-BE49-F238E27FC236}">
                <a16:creationId xmlns:a16="http://schemas.microsoft.com/office/drawing/2014/main" id="{A39482BB-A8D3-9A27-4B0A-DD9D976C698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4"/>
          <a:stretch/>
        </p:blipFill>
        <p:spPr>
          <a:xfrm>
            <a:off x="629781" y="2863377"/>
            <a:ext cx="2223839" cy="2223839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B5950192-4D07-50BD-56FC-78B1ED2036E2}"/>
              </a:ext>
            </a:extLst>
          </p:cNvPr>
          <p:cNvSpPr/>
          <p:nvPr/>
        </p:nvSpPr>
        <p:spPr bwMode="auto">
          <a:xfrm>
            <a:off x="7154333" y="6308725"/>
            <a:ext cx="4555067" cy="430742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3" name="Richtungspfeil 72">
            <a:extLst>
              <a:ext uri="{FF2B5EF4-FFF2-40B4-BE49-F238E27FC236}">
                <a16:creationId xmlns:a16="http://schemas.microsoft.com/office/drawing/2014/main" id="{F952DFD3-A151-FB9F-34E7-0F11459A5728}"/>
              </a:ext>
            </a:extLst>
          </p:cNvPr>
          <p:cNvSpPr/>
          <p:nvPr/>
        </p:nvSpPr>
        <p:spPr bwMode="auto">
          <a:xfrm>
            <a:off x="6096000" y="3359505"/>
            <a:ext cx="1058333" cy="1231582"/>
          </a:xfrm>
          <a:prstGeom prst="homePlate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i="0" u="none" strike="noStrike" normalizeH="0" baseline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itchFamily="34" charset="0"/>
            </a:endParaRPr>
          </a:p>
        </p:txBody>
      </p:sp>
      <p:pic>
        <p:nvPicPr>
          <p:cNvPr id="76" name="Grafik 75" descr="Ein Bild, das draußen, Verkehr, Ampel, Landfahrzeug enthält.&#10;&#10;Automatisch generierte Beschreibung">
            <a:extLst>
              <a:ext uri="{FF2B5EF4-FFF2-40B4-BE49-F238E27FC236}">
                <a16:creationId xmlns:a16="http://schemas.microsoft.com/office/drawing/2014/main" id="{9344F790-D8BA-56F8-8BCC-CD2320B53A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458" y="2863377"/>
            <a:ext cx="2223839" cy="2223839"/>
          </a:xfrm>
          <a:prstGeom prst="rect">
            <a:avLst/>
          </a:prstGeom>
        </p:spPr>
      </p:pic>
      <p:pic>
        <p:nvPicPr>
          <p:cNvPr id="1026" name="Picture 2" descr="Die besten Navigations-Apps für Android: Google Maps - kostenlos,  vorinstalliert, ausreichend? - WindowsUnited">
            <a:extLst>
              <a:ext uri="{FF2B5EF4-FFF2-40B4-BE49-F238E27FC236}">
                <a16:creationId xmlns:a16="http://schemas.microsoft.com/office/drawing/2014/main" id="{1D53FCD2-9582-2371-4B8B-2A6B6177C6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03053" y="1913399"/>
            <a:ext cx="3857625" cy="4599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48751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916A666-9B07-DEFA-D70B-EB1A5A780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5309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95FD37-9437-B4B8-4280-D30321226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better</a:t>
            </a:r>
            <a:endParaRPr lang="de-DE" dirty="0"/>
          </a:p>
        </p:txBody>
      </p:sp>
      <p:pic>
        <p:nvPicPr>
          <p:cNvPr id="34" name="Grafik 33" descr="Ein Bild, das Karte, Text, Atlas, Plan enthält.&#10;&#10;Automatisch generierte Beschreibung">
            <a:extLst>
              <a:ext uri="{FF2B5EF4-FFF2-40B4-BE49-F238E27FC236}">
                <a16:creationId xmlns:a16="http://schemas.microsoft.com/office/drawing/2014/main" id="{875C09AC-72F8-97BA-99C2-80BC856DC2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81000"/>
            <a:ext cx="12192000" cy="7620000"/>
          </a:xfrm>
          <a:prstGeom prst="rect">
            <a:avLst/>
          </a:prstGeom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28477C8C-446E-5ED2-3D56-FB6DB88E7DC6}"/>
              </a:ext>
            </a:extLst>
          </p:cNvPr>
          <p:cNvSpPr/>
          <p:nvPr/>
        </p:nvSpPr>
        <p:spPr bwMode="auto">
          <a:xfrm>
            <a:off x="-673764" y="-381000"/>
            <a:ext cx="13539528" cy="7620000"/>
          </a:xfrm>
          <a:prstGeom prst="rect">
            <a:avLst/>
          </a:prstGeom>
          <a:solidFill>
            <a:schemeClr val="tx1">
              <a:lumMod val="95000"/>
              <a:lumOff val="5000"/>
              <a:alpha val="63991"/>
            </a:schemeClr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83C307E9-FE17-48DB-3226-849DB9C3D020}"/>
              </a:ext>
            </a:extLst>
          </p:cNvPr>
          <p:cNvSpPr txBox="1"/>
          <p:nvPr/>
        </p:nvSpPr>
        <p:spPr bwMode="auto">
          <a:xfrm>
            <a:off x="5584788" y="2957513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36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…nowadays cities have </a:t>
            </a:r>
            <a:r>
              <a:rPr lang="en-US" sz="3600" dirty="0" err="1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ifi</a:t>
            </a:r>
            <a:endParaRPr lang="en-US" sz="3600" dirty="0">
              <a:solidFill>
                <a:schemeClr val="bg1"/>
              </a:solidFill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8DAE9676-0330-39E0-5B39-D07344878C31}"/>
              </a:ext>
            </a:extLst>
          </p:cNvPr>
          <p:cNvSpPr txBox="1"/>
          <p:nvPr/>
        </p:nvSpPr>
        <p:spPr bwMode="auto">
          <a:xfrm>
            <a:off x="805329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hen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9BC01330-58C4-2FDA-2B85-C8AA61F24E8C}"/>
              </a:ext>
            </a:extLst>
          </p:cNvPr>
          <p:cNvSpPr txBox="1"/>
          <p:nvPr/>
        </p:nvSpPr>
        <p:spPr bwMode="auto">
          <a:xfrm>
            <a:off x="3832858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here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6203120-0D84-75A2-11C8-118E027D069D}"/>
              </a:ext>
            </a:extLst>
          </p:cNvPr>
          <p:cNvSpPr txBox="1"/>
          <p:nvPr/>
        </p:nvSpPr>
        <p:spPr bwMode="auto">
          <a:xfrm>
            <a:off x="6860387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speed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4965B5F8-65C9-A06B-793B-E74C9EC5F041}"/>
              </a:ext>
            </a:extLst>
          </p:cNvPr>
          <p:cNvSpPr txBox="1"/>
          <p:nvPr/>
        </p:nvSpPr>
        <p:spPr bwMode="auto">
          <a:xfrm>
            <a:off x="9887916" y="5842000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amoun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3BDF231F-9EB3-AC94-9821-DA83A5C34F33}"/>
              </a:ext>
            </a:extLst>
          </p:cNvPr>
          <p:cNvSpPr txBox="1"/>
          <p:nvPr/>
        </p:nvSpPr>
        <p:spPr bwMode="auto">
          <a:xfrm>
            <a:off x="1574800" y="4445000"/>
            <a:ext cx="90424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24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hich tells us about the</a:t>
            </a:r>
          </a:p>
        </p:txBody>
      </p:sp>
    </p:spTree>
    <p:extLst>
      <p:ext uri="{BB962C8B-B14F-4D97-AF65-F5344CB8AC3E}">
        <p14:creationId xmlns:p14="http://schemas.microsoft.com/office/powerpoint/2010/main" val="149104038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4" grpId="0"/>
      <p:bldP spid="4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916A666-9B07-DEFA-D70B-EB1A5A780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4886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16A666-9B07-DEFA-D70B-EB1A5A780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Grafik 60" descr="Ein Bild, das Text, Screenshot, Karte, Diagramm enthält.&#10;&#10;Automatisch generierte Beschreibung">
            <a:extLst>
              <a:ext uri="{FF2B5EF4-FFF2-40B4-BE49-F238E27FC236}">
                <a16:creationId xmlns:a16="http://schemas.microsoft.com/office/drawing/2014/main" id="{CF7380F8-8A36-728A-26BB-E9C97482DA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1396" y="299869"/>
            <a:ext cx="4825136" cy="3200569"/>
          </a:xfrm>
          <a:prstGeom prst="rect">
            <a:avLst/>
          </a:prstGeom>
        </p:spPr>
      </p:pic>
      <p:sp>
        <p:nvSpPr>
          <p:cNvPr id="54" name="Rechteck 53">
            <a:extLst>
              <a:ext uri="{FF2B5EF4-FFF2-40B4-BE49-F238E27FC236}">
                <a16:creationId xmlns:a16="http://schemas.microsoft.com/office/drawing/2014/main" id="{6FEDA44B-02BE-2E61-040A-E4715212E9EC}"/>
              </a:ext>
            </a:extLst>
          </p:cNvPr>
          <p:cNvSpPr/>
          <p:nvPr/>
        </p:nvSpPr>
        <p:spPr bwMode="auto">
          <a:xfrm>
            <a:off x="7154333" y="6308725"/>
            <a:ext cx="4555067" cy="430742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95FD37-9437-B4B8-4280-D30321226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de-DE" dirty="0"/>
          </a:p>
        </p:txBody>
      </p:sp>
      <p:pic>
        <p:nvPicPr>
          <p:cNvPr id="31" name="Grafik 30" descr="Ein Bild, das Karte, Text, Atlas, Plan enthält.&#10;&#10;Automatisch generierte Beschreibung">
            <a:extLst>
              <a:ext uri="{FF2B5EF4-FFF2-40B4-BE49-F238E27FC236}">
                <a16:creationId xmlns:a16="http://schemas.microsoft.com/office/drawing/2014/main" id="{B39B3F15-1290-A735-F8C2-E1C17B0901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58506" y="3616864"/>
            <a:ext cx="6096000" cy="3810000"/>
          </a:xfrm>
          <a:prstGeom prst="rect">
            <a:avLst/>
          </a:prstGeom>
        </p:spPr>
      </p:pic>
      <p:pic>
        <p:nvPicPr>
          <p:cNvPr id="33" name="Grafik 32" descr="Ein Bild, das Decke, Einkaufszentrum, Kleidung, Menschen enthält.&#10;&#10;Automatisch generierte Beschreibung">
            <a:extLst>
              <a:ext uri="{FF2B5EF4-FFF2-40B4-BE49-F238E27FC236}">
                <a16:creationId xmlns:a16="http://schemas.microsoft.com/office/drawing/2014/main" id="{B32CD094-F614-5BE1-4214-4FDC7C00D8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17304" y="-1206398"/>
            <a:ext cx="6096000" cy="4572000"/>
          </a:xfrm>
          <a:prstGeom prst="rect">
            <a:avLst/>
          </a:prstGeom>
        </p:spPr>
      </p:pic>
      <p:pic>
        <p:nvPicPr>
          <p:cNvPr id="37" name="Köln simulation2">
            <a:hlinkClick r:id="" action="ppaction://media"/>
            <a:extLst>
              <a:ext uri="{FF2B5EF4-FFF2-40B4-BE49-F238E27FC236}">
                <a16:creationId xmlns:a16="http://schemas.microsoft.com/office/drawing/2014/main" id="{41E30A45-B760-2AEF-BF75-9D75BFD38B73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 rotWithShape="1">
          <a:blip r:embed="rId11"/>
          <a:srcRect t="12758" r="3128" b="16586"/>
          <a:stretch/>
        </p:blipFill>
        <p:spPr>
          <a:xfrm>
            <a:off x="6713306" y="3630904"/>
            <a:ext cx="7378978" cy="3312155"/>
          </a:xfrm>
          <a:prstGeom prst="rect">
            <a:avLst/>
          </a:prstGeom>
        </p:spPr>
      </p:pic>
      <p:sp>
        <p:nvSpPr>
          <p:cNvPr id="58" name="Pfeil nach rechts 57">
            <a:extLst>
              <a:ext uri="{FF2B5EF4-FFF2-40B4-BE49-F238E27FC236}">
                <a16:creationId xmlns:a16="http://schemas.microsoft.com/office/drawing/2014/main" id="{5BBAEA08-709F-849C-7794-716BD3E03FD7}"/>
              </a:ext>
            </a:extLst>
          </p:cNvPr>
          <p:cNvSpPr/>
          <p:nvPr/>
        </p:nvSpPr>
        <p:spPr bwMode="auto">
          <a:xfrm>
            <a:off x="5623325" y="4880572"/>
            <a:ext cx="1004149" cy="498764"/>
          </a:xfrm>
          <a:prstGeom prst="rightArrow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9" name="Pfeil nach rechts 58">
            <a:extLst>
              <a:ext uri="{FF2B5EF4-FFF2-40B4-BE49-F238E27FC236}">
                <a16:creationId xmlns:a16="http://schemas.microsoft.com/office/drawing/2014/main" id="{7153C58E-140D-2317-E51D-918E09AD752D}"/>
              </a:ext>
            </a:extLst>
          </p:cNvPr>
          <p:cNvSpPr/>
          <p:nvPr/>
        </p:nvSpPr>
        <p:spPr bwMode="auto">
          <a:xfrm>
            <a:off x="5623325" y="1367833"/>
            <a:ext cx="1004149" cy="498764"/>
          </a:xfrm>
          <a:prstGeom prst="rightArrow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C305C6EC-D9ED-691E-E455-7DD173806471}"/>
              </a:ext>
            </a:extLst>
          </p:cNvPr>
          <p:cNvSpPr/>
          <p:nvPr/>
        </p:nvSpPr>
        <p:spPr bwMode="auto">
          <a:xfrm>
            <a:off x="6691396" y="429911"/>
            <a:ext cx="5165642" cy="3070527"/>
          </a:xfrm>
          <a:prstGeom prst="rect">
            <a:avLst/>
          </a:prstGeom>
          <a:solidFill>
            <a:srgbClr val="FFFFFF">
              <a:alpha val="75935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50000"/>
              <a:buFont typeface="Wingdings" pitchFamily="2" charset="2"/>
              <a:buChar char="§"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39" name="Grafik 38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AB8B0517-1A2D-DF1B-595D-C9CBBA9D67D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3306" y="6843"/>
            <a:ext cx="4439108" cy="3624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8260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37"/>
                </p:tgtEl>
              </p:cMediaNode>
            </p:video>
          </p:childTnLst>
        </p:cTn>
      </p:par>
    </p:tnLst>
    <p:bldLst>
      <p:bldP spid="5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916A666-9B07-DEFA-D70B-EB1A5A780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16A666-9B07-DEFA-D70B-EB1A5A780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feld 36">
            <a:extLst>
              <a:ext uri="{FF2B5EF4-FFF2-40B4-BE49-F238E27FC236}">
                <a16:creationId xmlns:a16="http://schemas.microsoft.com/office/drawing/2014/main" id="{83C307E9-FE17-48DB-3226-849DB9C3D020}"/>
              </a:ext>
            </a:extLst>
          </p:cNvPr>
          <p:cNvSpPr txBox="1"/>
          <p:nvPr/>
        </p:nvSpPr>
        <p:spPr bwMode="auto">
          <a:xfrm>
            <a:off x="5584788" y="2957513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r>
              <a:rPr lang="en-US" sz="3600" dirty="0" err="1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Citys</a:t>
            </a:r>
            <a:r>
              <a:rPr lang="en-US" sz="3600" dirty="0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 have </a:t>
            </a:r>
            <a:r>
              <a:rPr lang="en-US" sz="3600" dirty="0" err="1">
                <a:solidFill>
                  <a:schemeClr val="bg1"/>
                </a:solidFill>
                <a:latin typeface="+mn-lt"/>
                <a:ea typeface="ヒラギノ角ゴ Pro W3" charset="-128"/>
                <a:cs typeface="ヒラギノ角ゴ Pro W3" charset="-128"/>
              </a:rPr>
              <a:t>Wifi</a:t>
            </a:r>
            <a:endParaRPr lang="en-US" sz="3600" dirty="0">
              <a:solidFill>
                <a:schemeClr val="bg1"/>
              </a:solidFill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1EE260BA-0F4A-8757-B0EC-47EFA5562FFB}"/>
              </a:ext>
            </a:extLst>
          </p:cNvPr>
          <p:cNvSpPr txBox="1"/>
          <p:nvPr/>
        </p:nvSpPr>
        <p:spPr bwMode="auto">
          <a:xfrm>
            <a:off x="5588000" y="2760486"/>
            <a:ext cx="10160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36000" rIns="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72000" algn="ctr" defTabSz="0" eaLnBrk="0" hangingPunct="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</a:pPr>
            <a:endParaRPr lang="en-US" sz="3600" dirty="0">
              <a:solidFill>
                <a:schemeClr val="bg1"/>
              </a:solidFill>
              <a:latin typeface="+mn-lt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DE70D8B-44C6-EBF8-BFF8-D232DF2E8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Grafik 2" descr="Ein Bild, das Kunst, Screenshot enthält.&#10;&#10;Automatisch generierte Beschreibung">
            <a:extLst>
              <a:ext uri="{FF2B5EF4-FFF2-40B4-BE49-F238E27FC236}">
                <a16:creationId xmlns:a16="http://schemas.microsoft.com/office/drawing/2014/main" id="{69C85FCC-6F93-184E-9153-C2E6AE3F47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0356" y="-419025"/>
            <a:ext cx="12906288" cy="7375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735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D81A626-2180-72E4-0B32-5269DC96C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9625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3182908-26BD-55A8-B132-D0ED5FEB1548}"/>
              </a:ext>
            </a:extLst>
          </p:cNvPr>
          <p:cNvGrpSpPr/>
          <p:nvPr/>
        </p:nvGrpSpPr>
        <p:grpSpPr>
          <a:xfrm>
            <a:off x="8928525" y="1065145"/>
            <a:ext cx="2755436" cy="2703534"/>
            <a:chOff x="8080984" y="1065145"/>
            <a:chExt cx="2755436" cy="2703534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FB01D0F-1401-0B13-0FC9-A130B8992D97}"/>
                </a:ext>
              </a:extLst>
            </p:cNvPr>
            <p:cNvGrpSpPr/>
            <p:nvPr/>
          </p:nvGrpSpPr>
          <p:grpSpPr>
            <a:xfrm>
              <a:off x="8080984" y="1065145"/>
              <a:ext cx="2755436" cy="2066577"/>
              <a:chOff x="7356592" y="620278"/>
              <a:chExt cx="2755436" cy="2066577"/>
            </a:xfrm>
            <a:effectLst/>
          </p:grpSpPr>
          <p:pic>
            <p:nvPicPr>
              <p:cNvPr id="4100" name="Picture 4" descr="Two Roads - Slide Team">
                <a:extLst>
                  <a:ext uri="{FF2B5EF4-FFF2-40B4-BE49-F238E27FC236}">
                    <a16:creationId xmlns:a16="http://schemas.microsoft.com/office/drawing/2014/main" id="{9CCC998C-BB7F-0254-E499-46F0C3AC449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0000" b="90000" l="10000" r="90000"/>
                        </a14:imgEffect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56592" y="620278"/>
                <a:ext cx="2755436" cy="2066577"/>
              </a:xfrm>
              <a:prstGeom prst="ellipse">
                <a:avLst/>
              </a:prstGeom>
              <a:solidFill>
                <a:schemeClr val="lt1"/>
              </a:solidFill>
              <a:ln w="63500" cap="rnd">
                <a:noFill/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84D4E9D-88E7-D681-6C69-21EE84E3ABEF}"/>
                  </a:ext>
                </a:extLst>
              </p:cNvPr>
              <p:cNvSpPr txBox="1"/>
              <p:nvPr/>
            </p:nvSpPr>
            <p:spPr bwMode="auto">
              <a:xfrm>
                <a:off x="8444258" y="888298"/>
                <a:ext cx="580104" cy="8070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36000" rIns="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72000" algn="l" defTabSz="0" eaLnBrk="0" hangingPunct="0">
                  <a:spcBef>
                    <a:spcPts val="200"/>
                  </a:spcBef>
                  <a:spcAft>
                    <a:spcPts val="200"/>
                  </a:spcAft>
                  <a:buClr>
                    <a:schemeClr val="tx1"/>
                  </a:buClr>
                </a:pPr>
                <a:r>
                  <a:rPr lang="en-US" sz="5400" dirty="0">
                    <a:latin typeface="+mn-lt"/>
                    <a:ea typeface="ヒラギノ角ゴ Pro W3" charset="-128"/>
                    <a:cs typeface="ヒラギノ角ゴ Pro W3" charset="-128"/>
                  </a:rPr>
                  <a:t>?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08DF19-19B4-2135-316C-C61A030DD26D}"/>
                </a:ext>
              </a:extLst>
            </p:cNvPr>
            <p:cNvSpPr txBox="1"/>
            <p:nvPr/>
          </p:nvSpPr>
          <p:spPr bwMode="auto">
            <a:xfrm>
              <a:off x="8113737" y="3151855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“What if” scenarios</a:t>
              </a: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0EA1168-760A-BA5E-F975-BEA0764BB84C}"/>
              </a:ext>
            </a:extLst>
          </p:cNvPr>
          <p:cNvGrpSpPr/>
          <p:nvPr/>
        </p:nvGrpSpPr>
        <p:grpSpPr>
          <a:xfrm>
            <a:off x="597794" y="4071643"/>
            <a:ext cx="2689930" cy="2390621"/>
            <a:chOff x="1043870" y="3997234"/>
            <a:chExt cx="2689930" cy="2390621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E59110-C36C-4DD8-1913-421866D34F55}"/>
                </a:ext>
              </a:extLst>
            </p:cNvPr>
            <p:cNvSpPr txBox="1"/>
            <p:nvPr/>
          </p:nvSpPr>
          <p:spPr bwMode="auto">
            <a:xfrm>
              <a:off x="1043870" y="5771031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Scheduling </a:t>
              </a:r>
            </a:p>
          </p:txBody>
        </p:sp>
        <p:pic>
          <p:nvPicPr>
            <p:cNvPr id="16" name="Graphic 15" descr="Bus with solid fill">
              <a:extLst>
                <a:ext uri="{FF2B5EF4-FFF2-40B4-BE49-F238E27FC236}">
                  <a16:creationId xmlns:a16="http://schemas.microsoft.com/office/drawing/2014/main" id="{6BF556A8-5172-E462-60F4-BB8A34907F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84459" y="3997234"/>
              <a:ext cx="2208752" cy="2208752"/>
            </a:xfrm>
            <a:prstGeom prst="rect">
              <a:avLst/>
            </a:prstGeom>
          </p:spPr>
        </p:pic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9C8B1CC-21AB-07F8-E5DD-A1DC1353F82E}"/>
              </a:ext>
            </a:extLst>
          </p:cNvPr>
          <p:cNvGrpSpPr/>
          <p:nvPr/>
        </p:nvGrpSpPr>
        <p:grpSpPr>
          <a:xfrm>
            <a:off x="9079074" y="3768679"/>
            <a:ext cx="2736399" cy="2693585"/>
            <a:chOff x="8122154" y="3889681"/>
            <a:chExt cx="2736399" cy="2693585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72FB819-65D9-86E7-6D77-3F47926F8C3F}"/>
                </a:ext>
              </a:extLst>
            </p:cNvPr>
            <p:cNvSpPr txBox="1"/>
            <p:nvPr/>
          </p:nvSpPr>
          <p:spPr bwMode="auto">
            <a:xfrm>
              <a:off x="8145388" y="5966442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Resource allocation </a:t>
              </a:r>
            </a:p>
          </p:txBody>
        </p:sp>
        <p:pic>
          <p:nvPicPr>
            <p:cNvPr id="1028" name="Picture 4" descr="Free Clipart: Parking sign | loveandread - Clip Art Library">
              <a:extLst>
                <a:ext uri="{FF2B5EF4-FFF2-40B4-BE49-F238E27FC236}">
                  <a16:creationId xmlns:a16="http://schemas.microsoft.com/office/drawing/2014/main" id="{97A933DD-F6C9-D86A-4633-DB64C31DA0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foregroundMark x1="37500" y1="42920" x2="37143" y2="61062"/>
                          <a14:foregroundMark x1="37143" y1="61062" x2="40000" y2="51475"/>
                          <a14:foregroundMark x1="37976" y1="59145" x2="37976" y2="5914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22154" y="3889681"/>
              <a:ext cx="2736399" cy="2208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393A7AA-EAA7-B8C0-006A-0E6BB0DDDECD}"/>
              </a:ext>
            </a:extLst>
          </p:cNvPr>
          <p:cNvGrpSpPr/>
          <p:nvPr/>
        </p:nvGrpSpPr>
        <p:grpSpPr>
          <a:xfrm>
            <a:off x="508039" y="1274277"/>
            <a:ext cx="2689930" cy="2494402"/>
            <a:chOff x="884788" y="1274277"/>
            <a:chExt cx="2689930" cy="249440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6C77C1-119F-AEDE-9B4A-97FC057FDB72}"/>
                </a:ext>
              </a:extLst>
            </p:cNvPr>
            <p:cNvSpPr txBox="1"/>
            <p:nvPr/>
          </p:nvSpPr>
          <p:spPr bwMode="auto">
            <a:xfrm>
              <a:off x="884788" y="3151855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Traffic light optimization</a:t>
              </a:r>
            </a:p>
          </p:txBody>
        </p:sp>
        <p:pic>
          <p:nvPicPr>
            <p:cNvPr id="18" name="Graphic 17" descr="Traffic light with solid fill">
              <a:extLst>
                <a:ext uri="{FF2B5EF4-FFF2-40B4-BE49-F238E27FC236}">
                  <a16:creationId xmlns:a16="http://schemas.microsoft.com/office/drawing/2014/main" id="{6D3FF34E-02C1-53B1-24EA-C11A8641F6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41317" y="1274277"/>
              <a:ext cx="1976873" cy="1976873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EC1EF1C-B232-F2E3-8B0B-9481BBE0451B}"/>
              </a:ext>
            </a:extLst>
          </p:cNvPr>
          <p:cNvGrpSpPr/>
          <p:nvPr/>
        </p:nvGrpSpPr>
        <p:grpSpPr>
          <a:xfrm>
            <a:off x="4718282" y="2192899"/>
            <a:ext cx="2689930" cy="2680156"/>
            <a:chOff x="4406156" y="2100312"/>
            <a:chExt cx="2689930" cy="268015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AFB007D-C029-BFC5-641D-4741297A70EF}"/>
                </a:ext>
              </a:extLst>
            </p:cNvPr>
            <p:cNvSpPr txBox="1"/>
            <p:nvPr/>
          </p:nvSpPr>
          <p:spPr bwMode="auto">
            <a:xfrm>
              <a:off x="4406156" y="4163644"/>
              <a:ext cx="2689930" cy="616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72000" algn="ctr" defTabSz="0" eaLnBrk="0" hangingPunct="0"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</a:pPr>
              <a:r>
                <a:rPr lang="en-US" sz="1600" dirty="0">
                  <a:ea typeface="ヒラギノ角ゴ Pro W3" charset="-128"/>
                  <a:cs typeface="Arial" panose="020B0604020202020204" pitchFamily="34" charset="0"/>
                </a:rPr>
                <a:t>Traffic stats</a:t>
              </a:r>
            </a:p>
          </p:txBody>
        </p:sp>
        <p:pic>
          <p:nvPicPr>
            <p:cNvPr id="20" name="Graphic 19" descr="Statistics with solid fill">
              <a:extLst>
                <a:ext uri="{FF2B5EF4-FFF2-40B4-BE49-F238E27FC236}">
                  <a16:creationId xmlns:a16="http://schemas.microsoft.com/office/drawing/2014/main" id="{A0B0C99E-3472-38DD-1AA2-A0A78AE1F9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679711" y="2100312"/>
              <a:ext cx="2142819" cy="2142819"/>
            </a:xfrm>
            <a:prstGeom prst="rect">
              <a:avLst/>
            </a:prstGeom>
          </p:spPr>
        </p:pic>
      </p:grpSp>
      <p:sp>
        <p:nvSpPr>
          <p:cNvPr id="17" name="Titel 1">
            <a:extLst>
              <a:ext uri="{FF2B5EF4-FFF2-40B4-BE49-F238E27FC236}">
                <a16:creationId xmlns:a16="http://schemas.microsoft.com/office/drawing/2014/main" id="{FA23128F-641F-8227-533A-F486F62BB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</p:spPr>
        <p:txBody>
          <a:bodyPr vert="horz"/>
          <a:lstStyle/>
          <a:p>
            <a:r>
              <a:rPr lang="de-DE" dirty="0"/>
              <a:t>Cisco </a:t>
            </a:r>
            <a:r>
              <a:rPr lang="de-DE" dirty="0" err="1"/>
              <a:t>spac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raffic</a:t>
            </a:r>
            <a:r>
              <a:rPr lang="de-DE" dirty="0"/>
              <a:t> </a:t>
            </a:r>
            <a:r>
              <a:rPr lang="de-DE" dirty="0" err="1"/>
              <a:t>optimization</a:t>
            </a:r>
            <a:r>
              <a:rPr lang="de-DE" dirty="0"/>
              <a:t> </a:t>
            </a:r>
            <a:r>
              <a:rPr lang="de-DE" dirty="0" err="1"/>
              <a:t>enables</a:t>
            </a:r>
            <a:r>
              <a:rPr lang="de-DE" dirty="0"/>
              <a:t> </a:t>
            </a:r>
            <a:r>
              <a:rPr lang="de-DE" dirty="0" err="1"/>
              <a:t>completely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usecas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5312296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B5BEAB-0E95-209D-22E8-F3BCC3DC1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21A8934-F7B1-4175-D0F8-C6B93AE215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4" name="explainatory video Traffic ">
            <a:hlinkClick r:id="" action="ppaction://media"/>
            <a:extLst>
              <a:ext uri="{FF2B5EF4-FFF2-40B4-BE49-F238E27FC236}">
                <a16:creationId xmlns:a16="http://schemas.microsoft.com/office/drawing/2014/main" id="{3CF5B9F9-7896-C788-47AF-DED82C6FA2A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4423"/>
          <a:stretch/>
        </p:blipFill>
        <p:spPr>
          <a:xfrm>
            <a:off x="1588" y="308113"/>
            <a:ext cx="12192000" cy="655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16670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75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FFF326A-1832-8B5A-09E0-1B353FB588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5619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33A3A4-ABBA-20B0-0710-7842F82FE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557" y="429911"/>
            <a:ext cx="11510501" cy="756962"/>
          </a:xfrm>
        </p:spPr>
        <p:txBody>
          <a:bodyPr vert="horz"/>
          <a:lstStyle/>
          <a:p>
            <a:r>
              <a:rPr lang="en-US" dirty="0"/>
              <a:t>Win- Win- Win for City-Governments, Environment, Citizens</a:t>
            </a:r>
          </a:p>
        </p:txBody>
      </p:sp>
      <p:pic>
        <p:nvPicPr>
          <p:cNvPr id="52" name="Grafik 51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609B47E9-ECED-BC17-FD13-D0711876966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89841" y="2583569"/>
            <a:ext cx="983092" cy="965608"/>
          </a:xfrm>
          <a:prstGeom prst="rect">
            <a:avLst/>
          </a:prstGeom>
        </p:spPr>
      </p:pic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A4E9FC9-CF6E-AEAE-F1C3-02D59EB0D368}"/>
              </a:ext>
            </a:extLst>
          </p:cNvPr>
          <p:cNvGrpSpPr/>
          <p:nvPr/>
        </p:nvGrpSpPr>
        <p:grpSpPr>
          <a:xfrm>
            <a:off x="5522781" y="3840174"/>
            <a:ext cx="3059999" cy="1219561"/>
            <a:chOff x="4017006" y="2520962"/>
            <a:chExt cx="3059999" cy="1219561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6119B64E-9BEA-038B-B854-A65548876E57}"/>
                </a:ext>
              </a:extLst>
            </p:cNvPr>
            <p:cNvSpPr/>
            <p:nvPr/>
          </p:nvSpPr>
          <p:spPr bwMode="auto">
            <a:xfrm>
              <a:off x="4017006" y="2520962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-15% CO2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C9EEF7AF-FA13-880C-D250-66B463C5377D}"/>
                </a:ext>
              </a:extLst>
            </p:cNvPr>
            <p:cNvSpPr/>
            <p:nvPr/>
          </p:nvSpPr>
          <p:spPr bwMode="auto">
            <a:xfrm>
              <a:off x="4017006" y="2924663"/>
              <a:ext cx="3059999" cy="81586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20000"/>
                </a:spcBef>
                <a:buClr>
                  <a:schemeClr val="accent1"/>
                </a:buClr>
                <a:buSzPct val="100000"/>
              </a:pPr>
              <a:r>
                <a:rPr lang="de-DE" sz="1200" dirty="0"/>
                <a:t>Average </a:t>
              </a:r>
              <a:r>
                <a:rPr lang="de-DE" sz="1200" dirty="0" err="1"/>
                <a:t>emissions</a:t>
              </a:r>
              <a:r>
                <a:rPr lang="de-DE" sz="1200" dirty="0"/>
                <a:t> </a:t>
              </a:r>
              <a:r>
                <a:rPr lang="de-DE" sz="1200" dirty="0" err="1"/>
                <a:t>reduce</a:t>
              </a:r>
              <a:r>
                <a:rPr lang="de-DE" sz="1200" dirty="0"/>
                <a:t> 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CE51DD29-2BF5-C68B-4BA7-8C397B1C3765}"/>
              </a:ext>
            </a:extLst>
          </p:cNvPr>
          <p:cNvGrpSpPr/>
          <p:nvPr/>
        </p:nvGrpSpPr>
        <p:grpSpPr>
          <a:xfrm>
            <a:off x="2462782" y="3840174"/>
            <a:ext cx="3059999" cy="1219561"/>
            <a:chOff x="1158668" y="2368562"/>
            <a:chExt cx="3059999" cy="1219561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0589B13-B90B-F759-F16B-817C3771103F}"/>
                </a:ext>
              </a:extLst>
            </p:cNvPr>
            <p:cNvSpPr/>
            <p:nvPr/>
          </p:nvSpPr>
          <p:spPr bwMode="auto">
            <a:xfrm>
              <a:off x="1158668" y="2368562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2.6 </a:t>
              </a:r>
              <a:r>
                <a:rPr kumimoji="0" lang="de-DE" sz="1800" b="1" i="0" u="none" strike="noStrike" cap="none" normalizeH="0" baseline="0" dirty="0" err="1">
                  <a:ln>
                    <a:noFill/>
                  </a:ln>
                  <a:effectLst/>
                  <a:latin typeface="Arial" pitchFamily="34" charset="0"/>
                </a:rPr>
                <a:t>Mio</a:t>
              </a: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 </a:t>
              </a:r>
              <a:r>
                <a:rPr kumimoji="0" lang="de-DE" sz="1800" b="1" i="0" u="none" strike="noStrike" cap="none" normalizeH="0" baseline="0" dirty="0" err="1">
                  <a:ln>
                    <a:noFill/>
                  </a:ln>
                  <a:effectLst/>
                  <a:latin typeface="Arial" pitchFamily="34" charset="0"/>
                </a:rPr>
                <a:t>Saved</a:t>
              </a:r>
              <a:endParaRPr kumimoji="0" lang="de-DE" sz="18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A82BB437-5F5A-4966-1B5B-3FD619DC635E}"/>
                </a:ext>
              </a:extLst>
            </p:cNvPr>
            <p:cNvSpPr/>
            <p:nvPr/>
          </p:nvSpPr>
          <p:spPr bwMode="auto">
            <a:xfrm>
              <a:off x="1158668" y="2772263"/>
              <a:ext cx="3059999" cy="81586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20000"/>
                </a:spcBef>
                <a:buClr>
                  <a:schemeClr val="accent1"/>
                </a:buClr>
                <a:buSzPct val="100000"/>
              </a:pPr>
              <a:r>
                <a:rPr lang="de-DE" sz="1200" dirty="0"/>
                <a:t>Average annual </a:t>
              </a:r>
              <a:r>
                <a:rPr lang="de-DE" sz="1200" dirty="0" err="1"/>
                <a:t>cost</a:t>
              </a:r>
              <a:r>
                <a:rPr lang="de-DE" sz="1200" dirty="0"/>
                <a:t> </a:t>
              </a:r>
              <a:r>
                <a:rPr lang="de-DE" sz="1200" dirty="0" err="1"/>
                <a:t>savings</a:t>
              </a:r>
              <a:endParaRPr lang="de-DE" sz="1200" dirty="0"/>
            </a:p>
          </p:txBody>
        </p:sp>
      </p:grpSp>
      <p:pic>
        <p:nvPicPr>
          <p:cNvPr id="50" name="Grafik 49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1CE7A9FB-AA16-CE5A-A779-8798B6BA517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7730" b="16468"/>
          <a:stretch/>
        </p:blipFill>
        <p:spPr>
          <a:xfrm>
            <a:off x="2357407" y="2640368"/>
            <a:ext cx="1069732" cy="968427"/>
          </a:xfrm>
          <a:prstGeom prst="rect">
            <a:avLst/>
          </a:prstGeom>
        </p:spPr>
      </p:pic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79D11C3A-6FAC-A4D0-B2A3-50678CDEA699}"/>
              </a:ext>
            </a:extLst>
          </p:cNvPr>
          <p:cNvGrpSpPr/>
          <p:nvPr/>
        </p:nvGrpSpPr>
        <p:grpSpPr>
          <a:xfrm>
            <a:off x="8405343" y="3858696"/>
            <a:ext cx="3059999" cy="1219561"/>
            <a:chOff x="4017006" y="2520962"/>
            <a:chExt cx="3059999" cy="1219561"/>
          </a:xfrm>
        </p:grpSpPr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2C16B956-60CB-062A-889B-01AD741CD81F}"/>
                </a:ext>
              </a:extLst>
            </p:cNvPr>
            <p:cNvSpPr/>
            <p:nvPr/>
          </p:nvSpPr>
          <p:spPr bwMode="auto">
            <a:xfrm>
              <a:off x="4017006" y="2520962"/>
              <a:ext cx="3059999" cy="32385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SzPct val="150000"/>
                <a:tabLst/>
              </a:pPr>
              <a:r>
                <a:rPr kumimoji="0" lang="de-DE" sz="1800" b="1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</a:rPr>
                <a:t>+24% </a:t>
              </a:r>
              <a:r>
                <a:rPr lang="de-DE" sz="1800" b="1" dirty="0" err="1"/>
                <a:t>F</a:t>
              </a:r>
              <a:r>
                <a:rPr kumimoji="0" lang="de-DE" sz="1800" b="1" i="0" u="none" strike="noStrike" cap="none" normalizeH="0" baseline="0" dirty="0" err="1">
                  <a:ln>
                    <a:noFill/>
                  </a:ln>
                  <a:effectLst/>
                  <a:latin typeface="Arial" pitchFamily="34" charset="0"/>
                </a:rPr>
                <a:t>aster</a:t>
              </a:r>
              <a:endParaRPr kumimoji="0" lang="de-DE" sz="1800" b="1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CE6C309A-D758-3C7E-63CC-CA6623BD0025}"/>
                </a:ext>
              </a:extLst>
            </p:cNvPr>
            <p:cNvSpPr/>
            <p:nvPr/>
          </p:nvSpPr>
          <p:spPr bwMode="auto">
            <a:xfrm>
              <a:off x="4017006" y="2924663"/>
              <a:ext cx="3059999" cy="815860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20000"/>
                </a:spcBef>
                <a:buClr>
                  <a:schemeClr val="accent1"/>
                </a:buClr>
                <a:buSzPct val="100000"/>
              </a:pPr>
              <a:r>
                <a:rPr lang="de-DE" sz="1200" dirty="0" err="1"/>
                <a:t>Increased</a:t>
              </a:r>
              <a:r>
                <a:rPr lang="de-DE" sz="1200" dirty="0"/>
                <a:t> </a:t>
              </a:r>
              <a:r>
                <a:rPr lang="de-DE" sz="1200" dirty="0" err="1"/>
                <a:t>traffic</a:t>
              </a:r>
              <a:r>
                <a:rPr lang="de-DE" sz="1200" dirty="0"/>
                <a:t> </a:t>
              </a:r>
              <a:r>
                <a:rPr lang="de-DE" sz="1200" dirty="0" err="1"/>
                <a:t>flow</a:t>
              </a:r>
              <a:endParaRPr lang="de-DE" sz="1200" dirty="0"/>
            </a:p>
          </p:txBody>
        </p:sp>
      </p:grpSp>
      <p:pic>
        <p:nvPicPr>
          <p:cNvPr id="72" name="Grafik 71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933912B6-CE71-F82D-864C-0440C771247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559"/>
          <a:stretch/>
        </p:blipFill>
        <p:spPr>
          <a:xfrm>
            <a:off x="8323278" y="2677439"/>
            <a:ext cx="912343" cy="78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93846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7037&quot;&gt;&lt;version val=&quot;327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F&quot; g=&quot;C1&quot; b=&quot;9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2_fuks_Folienmaster_2022">
  <a:themeElements>
    <a:clrScheme name="fuks 2022">
      <a:dk1>
        <a:srgbClr val="000000"/>
      </a:dk1>
      <a:lt1>
        <a:srgbClr val="FFFFFF"/>
      </a:lt1>
      <a:dk2>
        <a:srgbClr val="646464"/>
      </a:dk2>
      <a:lt2>
        <a:srgbClr val="E6E6E6"/>
      </a:lt2>
      <a:accent1>
        <a:srgbClr val="EB5E28"/>
      </a:accent1>
      <a:accent2>
        <a:srgbClr val="235789"/>
      </a:accent2>
      <a:accent3>
        <a:srgbClr val="9CAEA9"/>
      </a:accent3>
      <a:accent4>
        <a:srgbClr val="646464"/>
      </a:accent4>
      <a:accent5>
        <a:srgbClr val="BEBEBE"/>
      </a:accent5>
      <a:accent6>
        <a:srgbClr val="E6E6E6"/>
      </a:accent6>
      <a:hlink>
        <a:srgbClr val="0096CD"/>
      </a:hlink>
      <a:folHlink>
        <a:srgbClr val="808080"/>
      </a:folHlink>
    </a:clrScheme>
    <a:fontScheme name="060108_Richtlinie_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bg1"/>
          </a:buClr>
          <a:buSzPct val="150000"/>
          <a:buFont typeface="Wingdings" pitchFamily="2" charset="2"/>
          <a:buChar char="§"/>
          <a:tabLst/>
          <a:defRPr kumimoji="0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chemeClr val="bg2"/>
          </a:outerShdw>
        </a:effec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bg1"/>
          </a:buClr>
          <a:buSzPct val="150000"/>
          <a:buFont typeface="Wingdings" pitchFamily="2" charset="2"/>
          <a:buChar char="§"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36000" rIns="0" bIns="36000" numCol="1" rtlCol="0" anchor="t" anchorCtr="0" compatLnSpc="1">
        <a:prstTxWarp prst="textNoShape">
          <a:avLst/>
        </a:prstTxWarp>
        <a:noAutofit/>
      </a:bodyPr>
      <a:lstStyle>
        <a:defPPr marL="252000" indent="-180000" algn="l" defTabSz="0" eaLnBrk="0" hangingPunct="0">
          <a:spcBef>
            <a:spcPts val="200"/>
          </a:spcBef>
          <a:spcAft>
            <a:spcPts val="200"/>
          </a:spcAft>
          <a:buClr>
            <a:schemeClr val="tx1"/>
          </a:buClr>
          <a:buFont typeface="Wingdings" pitchFamily="2" charset="2"/>
          <a:buChar char="§"/>
          <a:defRPr sz="1400" dirty="0" err="1" smtClean="0">
            <a:latin typeface="+mn-lt"/>
            <a:ea typeface="ヒラギノ角ゴ Pro W3" charset="-128"/>
            <a:cs typeface="ヒラギノ角ゴ Pro W3" charset="-128"/>
          </a:defRPr>
        </a:defPPr>
      </a:lstStyle>
    </a:txDef>
  </a:objectDefaults>
  <a:extraClrSchemeLst>
    <a:extraClrScheme>
      <a:clrScheme name="060108_Richtlinie_Präsentatio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60108_Richtlinie_Präsentatio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8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FFFFCC"/>
        </a:accent1>
        <a:accent2>
          <a:srgbClr val="6699FF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5C8AE7"/>
        </a:accent6>
        <a:hlink>
          <a:srgbClr val="00CC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9">
        <a:dk1>
          <a:srgbClr val="000000"/>
        </a:dk1>
        <a:lt1>
          <a:srgbClr val="EAEAEA"/>
        </a:lt1>
        <a:dk2>
          <a:srgbClr val="F8F8F8"/>
        </a:dk2>
        <a:lt2>
          <a:srgbClr val="3399FF"/>
        </a:lt2>
        <a:accent1>
          <a:srgbClr val="FFFFCC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0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FFFFCC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FFFFE2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1">
        <a:dk1>
          <a:srgbClr val="000000"/>
        </a:dk1>
        <a:lt1>
          <a:srgbClr val="EAEAEA"/>
        </a:lt1>
        <a:dk2>
          <a:srgbClr val="F8F8F8"/>
        </a:dk2>
        <a:lt2>
          <a:srgbClr val="808080"/>
        </a:lt2>
        <a:accent1>
          <a:srgbClr val="0099FF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AACAFF"/>
        </a:accent5>
        <a:accent6>
          <a:srgbClr val="00B900"/>
        </a:accent6>
        <a:hlink>
          <a:srgbClr val="FFFF00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2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000099"/>
        </a:accent1>
        <a:accent2>
          <a:srgbClr val="00CC00"/>
        </a:accent2>
        <a:accent3>
          <a:srgbClr val="F3F3F3"/>
        </a:accent3>
        <a:accent4>
          <a:srgbClr val="000000"/>
        </a:accent4>
        <a:accent5>
          <a:srgbClr val="AAAACA"/>
        </a:accent5>
        <a:accent6>
          <a:srgbClr val="00B9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3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000099"/>
        </a:accent1>
        <a:accent2>
          <a:srgbClr val="FE6400"/>
        </a:accent2>
        <a:accent3>
          <a:srgbClr val="F3F3F3"/>
        </a:accent3>
        <a:accent4>
          <a:srgbClr val="000000"/>
        </a:accent4>
        <a:accent5>
          <a:srgbClr val="AAAACA"/>
        </a:accent5>
        <a:accent6>
          <a:srgbClr val="E65A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4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FE6400"/>
        </a:accent1>
        <a:accent2>
          <a:srgbClr val="FE6400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E65A00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5">
        <a:dk1>
          <a:srgbClr val="000000"/>
        </a:dk1>
        <a:lt1>
          <a:srgbClr val="EAEAEA"/>
        </a:lt1>
        <a:dk2>
          <a:srgbClr val="080808"/>
        </a:dk2>
        <a:lt2>
          <a:srgbClr val="808080"/>
        </a:lt2>
        <a:accent1>
          <a:srgbClr val="FE6400"/>
        </a:accent1>
        <a:accent2>
          <a:srgbClr val="003399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002D8A"/>
        </a:accent6>
        <a:hlink>
          <a:srgbClr val="003399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60108_Richtlinie_Präsentation 16">
        <a:dk1>
          <a:srgbClr val="000000"/>
        </a:dk1>
        <a:lt1>
          <a:srgbClr val="EAEAEA"/>
        </a:lt1>
        <a:dk2>
          <a:srgbClr val="FFFFFF"/>
        </a:dk2>
        <a:lt2>
          <a:srgbClr val="808080"/>
        </a:lt2>
        <a:accent1>
          <a:srgbClr val="FE6400"/>
        </a:accent1>
        <a:accent2>
          <a:srgbClr val="003399"/>
        </a:accent2>
        <a:accent3>
          <a:srgbClr val="F3F3F3"/>
        </a:accent3>
        <a:accent4>
          <a:srgbClr val="000000"/>
        </a:accent4>
        <a:accent5>
          <a:srgbClr val="FEB8AA"/>
        </a:accent5>
        <a:accent6>
          <a:srgbClr val="002D8A"/>
        </a:accent6>
        <a:hlink>
          <a:srgbClr val="003399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60108_Richtlinie_Präsentation</Template>
  <TotalTime>6</TotalTime>
  <Words>140</Words>
  <Application>Microsoft Macintosh PowerPoint</Application>
  <PresentationFormat>Widescreen</PresentationFormat>
  <Paragraphs>36</Paragraphs>
  <Slides>13</Slides>
  <Notes>4</Notes>
  <HiddenSlides>1</HiddenSlides>
  <MMClips>2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Webdings</vt:lpstr>
      <vt:lpstr>Wingdings</vt:lpstr>
      <vt:lpstr>ヒラギノ角ゴ Pro W3</vt:lpstr>
      <vt:lpstr>02_fuks_Folienmaster_2022</vt:lpstr>
      <vt:lpstr>think-cell Folie</vt:lpstr>
      <vt:lpstr>Cisco Spaces for Traffic Optimization</vt:lpstr>
      <vt:lpstr>PowerPoint Presentation</vt:lpstr>
      <vt:lpstr>Data provided by navigation services, although promising, are too low in resolution and too high in price but…</vt:lpstr>
      <vt:lpstr>This is how it could be better</vt:lpstr>
      <vt:lpstr>PowerPoint Presentation</vt:lpstr>
      <vt:lpstr>PowerPoint Presentation</vt:lpstr>
      <vt:lpstr>Cisco spaces for traffic optimization enables completely new usecases</vt:lpstr>
      <vt:lpstr>PowerPoint Presentation</vt:lpstr>
      <vt:lpstr>Win- Win- Win for City-Governments, Environment, Citizens</vt:lpstr>
      <vt:lpstr>Backup</vt:lpstr>
      <vt:lpstr>PowerPoint Presentation</vt:lpstr>
      <vt:lpstr>PowerPoint Presentation</vt:lpstr>
      <vt:lpstr>PowerPoint Presentation</vt:lpstr>
    </vt:vector>
  </TitlesOfParts>
  <Company>fuks e.V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ks Style Guide 4.0 2022</dc:title>
  <dc:creator>Alexander Böhle</dc:creator>
  <cp:lastModifiedBy>Julian Strietzel</cp:lastModifiedBy>
  <cp:revision>1082</cp:revision>
  <cp:lastPrinted>2015-11-04T10:16:28Z</cp:lastPrinted>
  <dcterms:created xsi:type="dcterms:W3CDTF">2010-07-13T20:23:49Z</dcterms:created>
  <dcterms:modified xsi:type="dcterms:W3CDTF">2024-03-22T00:04:25Z</dcterms:modified>
  <cp:category>PowerPoint</cp:category>
</cp:coreProperties>
</file>